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p:scale>
          <a:sx n="60" d="100"/>
          <a:sy n="60" d="100"/>
        </p:scale>
        <p:origin x="1400"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ixel\Desktop\Springboard\Stat%20Case%20Study\1679498136_Statistics_Case_Study_Student_Reference_22032023%20(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ixel\Desktop\Springboard\Stat%20Case%20Study\1679498136_Statistics_Case_Study_Student_Reference_22032023%20(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ixel\Desktop\Springboard\Stat%20Case%20Study\1679498136_Statistics_Case_Study_Student_Reference_22032023%20(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Pixel\Desktop\Springboard\Stat%20Case%20Study\1679498136_Statistics_Case_Study_Student_Reference_22032023%20(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1679498136_Statistics_Case_Study_Student_Reference_22032023%20(2)%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1679498136_Statistics_Case_Study_Student_Reference_22032023%20(2)%20(1).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1679498136_Statistics_Case_Study_Student_Reference_22032023%20(2)%20(1).xlsx" TargetMode="External"/><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mahfuzavohidova-my.sharepoint.com/personal/mahfuzavohidova_mahfuzavohidova_onmicrosoft_com/Documents/1679498136_Statistics_Case_Study_Student_Reference_22032023%20(2)%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a:t>
            </a:r>
            <a:r>
              <a:rPr lang="en-US" baseline="0"/>
              <a:t> Alarm Plo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3B50-4739-A83C-F8C70CD5A08B}"/>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3B50-4739-A83C-F8C70CD5A08B}"/>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38248798010656E-2</c:v>
                </c:pt>
                <c:pt idx="1">
                  <c:v>1.0556696487790562E-2</c:v>
                </c:pt>
                <c:pt idx="2">
                  <c:v>1.205617361304645E-3</c:v>
                </c:pt>
                <c:pt idx="3">
                  <c:v>-5.4948831094661088E-3</c:v>
                </c:pt>
                <c:pt idx="4">
                  <c:v>-1.5513203753328875E-2</c:v>
                </c:pt>
                <c:pt idx="5">
                  <c:v>-1.1186806548971084E-2</c:v>
                </c:pt>
                <c:pt idx="6">
                  <c:v>-9.7915529107914789E-3</c:v>
                </c:pt>
                <c:pt idx="7">
                  <c:v>-1.0259157604485813E-2</c:v>
                </c:pt>
                <c:pt idx="8">
                  <c:v>-7.7034352807980877E-3</c:v>
                </c:pt>
                <c:pt idx="9">
                  <c:v>-1.4123435813403473E-3</c:v>
                </c:pt>
                <c:pt idx="10">
                  <c:v>-2.954653579961497E-3</c:v>
                </c:pt>
                <c:pt idx="11">
                  <c:v>-7.3372694642142022E-3</c:v>
                </c:pt>
                <c:pt idx="12">
                  <c:v>-2.5983963455887826E-3</c:v>
                </c:pt>
                <c:pt idx="13">
                  <c:v>6.0467084366825352E-3</c:v>
                </c:pt>
                <c:pt idx="14">
                  <c:v>8.1202969260160129E-3</c:v>
                </c:pt>
                <c:pt idx="15">
                  <c:v>6.7260066718932698E-3</c:v>
                </c:pt>
                <c:pt idx="16">
                  <c:v>8.6982805607300762E-3</c:v>
                </c:pt>
                <c:pt idx="17">
                  <c:v>3.5362188272950457E-3</c:v>
                </c:pt>
                <c:pt idx="18">
                  <c:v>3.2025993157351884E-3</c:v>
                </c:pt>
                <c:pt idx="19">
                  <c:v>6.2913357628692212E-3</c:v>
                </c:pt>
                <c:pt idx="20">
                  <c:v>9.1507595103504924E-3</c:v>
                </c:pt>
                <c:pt idx="21">
                  <c:v>1.6060006016045403E-2</c:v>
                </c:pt>
                <c:pt idx="22">
                  <c:v>1.7613075436162196E-2</c:v>
                </c:pt>
                <c:pt idx="23">
                  <c:v>2.2136393595919457E-2</c:v>
                </c:pt>
                <c:pt idx="24">
                  <c:v>1.7486623044139504E-2</c:v>
                </c:pt>
                <c:pt idx="25">
                  <c:v>1.6115640001837184E-2</c:v>
                </c:pt>
                <c:pt idx="26">
                  <c:v>1.4353360781567237E-2</c:v>
                </c:pt>
                <c:pt idx="27">
                  <c:v>-3.6412956962195153E-3</c:v>
                </c:pt>
                <c:pt idx="28">
                  <c:v>5.0460117092859802E-3</c:v>
                </c:pt>
                <c:pt idx="29">
                  <c:v>-2.0078789979014466E-3</c:v>
                </c:pt>
                <c:pt idx="30">
                  <c:v>-8.3713876206360505E-3</c:v>
                </c:pt>
                <c:pt idx="31">
                  <c:v>-7.7999296517610173E-3</c:v>
                </c:pt>
                <c:pt idx="32">
                  <c:v>8.7619851917108971E-3</c:v>
                </c:pt>
                <c:pt idx="33">
                  <c:v>1.1952127449112893E-2</c:v>
                </c:pt>
                <c:pt idx="34">
                  <c:v>1.6752369968853875E-2</c:v>
                </c:pt>
                <c:pt idx="35">
                  <c:v>2.5478994070677885E-3</c:v>
                </c:pt>
                <c:pt idx="36">
                  <c:v>-6.2691395220541013E-3</c:v>
                </c:pt>
                <c:pt idx="37">
                  <c:v>-5.7063120744291762E-3</c:v>
                </c:pt>
                <c:pt idx="38">
                  <c:v>-5.2172110516174319E-3</c:v>
                </c:pt>
                <c:pt idx="39">
                  <c:v>-1.3092173084380154E-2</c:v>
                </c:pt>
                <c:pt idx="40">
                  <c:v>-1.5163608578271814E-2</c:v>
                </c:pt>
                <c:pt idx="41">
                  <c:v>-1.6823302526451589E-2</c:v>
                </c:pt>
                <c:pt idx="42">
                  <c:v>-2.1745717336109194E-2</c:v>
                </c:pt>
                <c:pt idx="43">
                  <c:v>-2.3056980616380063E-2</c:v>
                </c:pt>
                <c:pt idx="44">
                  <c:v>-3.652579639890785E-2</c:v>
                </c:pt>
                <c:pt idx="45">
                  <c:v>-4.4304473862231575E-2</c:v>
                </c:pt>
                <c:pt idx="46">
                  <c:v>-5.2526506896687364E-2</c:v>
                </c:pt>
                <c:pt idx="47">
                  <c:v>-5.1604341135617959E-2</c:v>
                </c:pt>
                <c:pt idx="48">
                  <c:v>-5.8130582021139188E-2</c:v>
                </c:pt>
                <c:pt idx="49">
                  <c:v>-4.6796666302516443E-2</c:v>
                </c:pt>
                <c:pt idx="50">
                  <c:v>-5.5899627132311669E-2</c:v>
                </c:pt>
                <c:pt idx="51">
                  <c:v>-5.6629895957737375E-2</c:v>
                </c:pt>
                <c:pt idx="52">
                  <c:v>-5.5366382405994008E-2</c:v>
                </c:pt>
                <c:pt idx="53">
                  <c:v>-5.2562759265929238E-2</c:v>
                </c:pt>
                <c:pt idx="54">
                  <c:v>-4.7759447936907229E-2</c:v>
                </c:pt>
                <c:pt idx="55">
                  <c:v>-3.8746670173825937E-2</c:v>
                </c:pt>
                <c:pt idx="56">
                  <c:v>-3.6313214681331529E-2</c:v>
                </c:pt>
                <c:pt idx="57">
                  <c:v>-2.5564897888988081E-2</c:v>
                </c:pt>
                <c:pt idx="58">
                  <c:v>-2.3770395634073349E-2</c:v>
                </c:pt>
                <c:pt idx="59">
                  <c:v>-2.8836677118218801E-2</c:v>
                </c:pt>
                <c:pt idx="60">
                  <c:v>-3.4090396673990497E-2</c:v>
                </c:pt>
                <c:pt idx="61">
                  <c:v>-3.3872773324246652E-2</c:v>
                </c:pt>
                <c:pt idx="62">
                  <c:v>-3.8868293274186838E-2</c:v>
                </c:pt>
                <c:pt idx="63">
                  <c:v>-3.9868136185134184E-2</c:v>
                </c:pt>
                <c:pt idx="64">
                  <c:v>-3.5603748933797918E-2</c:v>
                </c:pt>
                <c:pt idx="65">
                  <c:v>-3.0771480191568612E-2</c:v>
                </c:pt>
                <c:pt idx="66">
                  <c:v>-2.365270928777341E-2</c:v>
                </c:pt>
                <c:pt idx="67">
                  <c:v>-2.0751224834104187E-2</c:v>
                </c:pt>
                <c:pt idx="68">
                  <c:v>-1.9959259383971584E-2</c:v>
                </c:pt>
                <c:pt idx="69">
                  <c:v>-1.3386925284323947E-2</c:v>
                </c:pt>
                <c:pt idx="70">
                  <c:v>-1.2332004677229613E-2</c:v>
                </c:pt>
                <c:pt idx="71">
                  <c:v>-2.3690039486703451E-3</c:v>
                </c:pt>
                <c:pt idx="72">
                  <c:v>-7.0118474563366506E-3</c:v>
                </c:pt>
                <c:pt idx="73">
                  <c:v>-1.1410258597546186E-2</c:v>
                </c:pt>
                <c:pt idx="74">
                  <c:v>-2.8757548202998917E-3</c:v>
                </c:pt>
                <c:pt idx="75">
                  <c:v>-3.0828918097797198E-3</c:v>
                </c:pt>
                <c:pt idx="76">
                  <c:v>-9.793561615345614E-3</c:v>
                </c:pt>
                <c:pt idx="77">
                  <c:v>-1.6420288703908881E-2</c:v>
                </c:pt>
                <c:pt idx="78">
                  <c:v>-2.1520113449167932E-2</c:v>
                </c:pt>
                <c:pt idx="79">
                  <c:v>-2.0677317699722142E-2</c:v>
                </c:pt>
                <c:pt idx="80">
                  <c:v>-1.7284126694940505E-2</c:v>
                </c:pt>
                <c:pt idx="81">
                  <c:v>-8.615999597018198E-3</c:v>
                </c:pt>
                <c:pt idx="82">
                  <c:v>-1.6868879284213767E-2</c:v>
                </c:pt>
                <c:pt idx="83">
                  <c:v>-2.6601817869537192E-2</c:v>
                </c:pt>
                <c:pt idx="84">
                  <c:v>-2.3910372291575333E-2</c:v>
                </c:pt>
                <c:pt idx="85">
                  <c:v>-3.7512597179529039E-2</c:v>
                </c:pt>
                <c:pt idx="86">
                  <c:v>-4.2578703513248772E-2</c:v>
                </c:pt>
                <c:pt idx="87">
                  <c:v>-5.4817906013991724E-2</c:v>
                </c:pt>
                <c:pt idx="88">
                  <c:v>-6.8040380894992425E-2</c:v>
                </c:pt>
                <c:pt idx="89">
                  <c:v>-5.7847044355862298E-2</c:v>
                </c:pt>
                <c:pt idx="90">
                  <c:v>-5.0309022518018276E-2</c:v>
                </c:pt>
                <c:pt idx="91">
                  <c:v>-5.2643319120907583E-2</c:v>
                </c:pt>
                <c:pt idx="92">
                  <c:v>-5.5639357342350371E-2</c:v>
                </c:pt>
                <c:pt idx="93">
                  <c:v>-4.6468318792430185E-2</c:v>
                </c:pt>
                <c:pt idx="94">
                  <c:v>-5.8289244165476983E-2</c:v>
                </c:pt>
                <c:pt idx="95">
                  <c:v>-5.2180451688019325E-2</c:v>
                </c:pt>
                <c:pt idx="96">
                  <c:v>-4.7920681733467974E-2</c:v>
                </c:pt>
                <c:pt idx="97">
                  <c:v>-4.8748633178391954E-2</c:v>
                </c:pt>
                <c:pt idx="98">
                  <c:v>-5.2668578130665167E-2</c:v>
                </c:pt>
                <c:pt idx="99">
                  <c:v>-5.4140299157265148E-2</c:v>
                </c:pt>
                <c:pt idx="100">
                  <c:v>-5.2300024268866152E-2</c:v>
                </c:pt>
                <c:pt idx="101">
                  <c:v>-5.7913958438522428E-2</c:v>
                </c:pt>
                <c:pt idx="102">
                  <c:v>-4.9701743361881601E-2</c:v>
                </c:pt>
                <c:pt idx="103">
                  <c:v>-4.3486669414515067E-2</c:v>
                </c:pt>
                <c:pt idx="104">
                  <c:v>-3.8757190207063474E-2</c:v>
                </c:pt>
                <c:pt idx="105">
                  <c:v>-4.1436562103161823E-2</c:v>
                </c:pt>
                <c:pt idx="106">
                  <c:v>-3.4367439711228798E-2</c:v>
                </c:pt>
                <c:pt idx="107">
                  <c:v>-2.4951575369530965E-2</c:v>
                </c:pt>
                <c:pt idx="108">
                  <c:v>-3.4320112099561983E-2</c:v>
                </c:pt>
                <c:pt idx="109">
                  <c:v>-3.4946876631105517E-2</c:v>
                </c:pt>
                <c:pt idx="110">
                  <c:v>-3.440833395834042E-2</c:v>
                </c:pt>
                <c:pt idx="111">
                  <c:v>-4.0902573323267744E-2</c:v>
                </c:pt>
                <c:pt idx="112">
                  <c:v>-4.6552440908667059E-2</c:v>
                </c:pt>
                <c:pt idx="113">
                  <c:v>-4.9537265785563944E-2</c:v>
                </c:pt>
                <c:pt idx="114">
                  <c:v>-5.5885834718919503E-2</c:v>
                </c:pt>
                <c:pt idx="115">
                  <c:v>-5.1978093607884523E-2</c:v>
                </c:pt>
                <c:pt idx="116">
                  <c:v>-5.5109115157353283E-2</c:v>
                </c:pt>
                <c:pt idx="117">
                  <c:v>-3.9420909182705466E-2</c:v>
                </c:pt>
                <c:pt idx="118">
                  <c:v>-3.0348983945859942E-2</c:v>
                </c:pt>
                <c:pt idx="119">
                  <c:v>-4.3762024115787113E-2</c:v>
                </c:pt>
                <c:pt idx="120">
                  <c:v>-5.2755449395340492E-2</c:v>
                </c:pt>
                <c:pt idx="121">
                  <c:v>-6.0849412304670114E-2</c:v>
                </c:pt>
                <c:pt idx="122">
                  <c:v>-5.3462991929191461E-2</c:v>
                </c:pt>
                <c:pt idx="123">
                  <c:v>-5.6888278923100111E-2</c:v>
                </c:pt>
                <c:pt idx="124">
                  <c:v>-4.1043857680048701E-2</c:v>
                </c:pt>
                <c:pt idx="125">
                  <c:v>-4.2244960940791554E-2</c:v>
                </c:pt>
                <c:pt idx="126">
                  <c:v>-4.5910108287041229E-2</c:v>
                </c:pt>
                <c:pt idx="127">
                  <c:v>-4.7250429136668548E-2</c:v>
                </c:pt>
                <c:pt idx="128">
                  <c:v>-3.4072147064460157E-2</c:v>
                </c:pt>
                <c:pt idx="129">
                  <c:v>-3.2480295588767416E-2</c:v>
                </c:pt>
                <c:pt idx="130">
                  <c:v>-3.8086395530638306E-2</c:v>
                </c:pt>
                <c:pt idx="131">
                  <c:v>-3.0334667508785884E-2</c:v>
                </c:pt>
                <c:pt idx="132">
                  <c:v>-4.7998082585816393E-2</c:v>
                </c:pt>
                <c:pt idx="133">
                  <c:v>-5.4985335777089306E-2</c:v>
                </c:pt>
                <c:pt idx="134">
                  <c:v>-5.9986800954797026E-2</c:v>
                </c:pt>
                <c:pt idx="135">
                  <c:v>-5.0352004437754783E-2</c:v>
                </c:pt>
                <c:pt idx="136">
                  <c:v>-4.7701469028878396E-2</c:v>
                </c:pt>
                <c:pt idx="137">
                  <c:v>-4.8719824987457527E-2</c:v>
                </c:pt>
                <c:pt idx="138">
                  <c:v>-3.2630921513592259E-2</c:v>
                </c:pt>
                <c:pt idx="139">
                  <c:v>-3.1320450714418135E-2</c:v>
                </c:pt>
                <c:pt idx="140">
                  <c:v>-2.7979716672497101E-2</c:v>
                </c:pt>
                <c:pt idx="141">
                  <c:v>-2.8541787592968548E-2</c:v>
                </c:pt>
                <c:pt idx="142">
                  <c:v>-9.5191064919638579E-3</c:v>
                </c:pt>
                <c:pt idx="143">
                  <c:v>1.2358723640858438E-3</c:v>
                </c:pt>
                <c:pt idx="144">
                  <c:v>6.7771741906197391E-3</c:v>
                </c:pt>
                <c:pt idx="145">
                  <c:v>1.810451973273719E-2</c:v>
                </c:pt>
                <c:pt idx="146">
                  <c:v>2.4795481731057611E-2</c:v>
                </c:pt>
                <c:pt idx="147">
                  <c:v>1.9732041933566369E-2</c:v>
                </c:pt>
                <c:pt idx="148">
                  <c:v>2.6208807153282998E-2</c:v>
                </c:pt>
                <c:pt idx="149">
                  <c:v>3.0119139447084886E-2</c:v>
                </c:pt>
                <c:pt idx="150">
                  <c:v>3.3174650450405463E-2</c:v>
                </c:pt>
                <c:pt idx="151">
                  <c:v>3.4296600057077242E-2</c:v>
                </c:pt>
                <c:pt idx="152">
                  <c:v>3.413515624633634E-2</c:v>
                </c:pt>
                <c:pt idx="153">
                  <c:v>3.9800360926927625E-2</c:v>
                </c:pt>
                <c:pt idx="154">
                  <c:v>4.0722295211350179E-2</c:v>
                </c:pt>
                <c:pt idx="155">
                  <c:v>3.9496574377177684E-2</c:v>
                </c:pt>
                <c:pt idx="156">
                  <c:v>4.0110564263182713E-2</c:v>
                </c:pt>
                <c:pt idx="157">
                  <c:v>4.0033657341972284E-2</c:v>
                </c:pt>
                <c:pt idx="158">
                  <c:v>1.9357784654152277E-2</c:v>
                </c:pt>
                <c:pt idx="159">
                  <c:v>1.5389780378740947E-2</c:v>
                </c:pt>
                <c:pt idx="160">
                  <c:v>1.9538383876858023E-2</c:v>
                </c:pt>
                <c:pt idx="161">
                  <c:v>1.6201333194991951E-2</c:v>
                </c:pt>
                <c:pt idx="162">
                  <c:v>1.7194087282320525E-2</c:v>
                </c:pt>
                <c:pt idx="163">
                  <c:v>2.4408738874630798E-2</c:v>
                </c:pt>
                <c:pt idx="164">
                  <c:v>2.2812264715417974E-2</c:v>
                </c:pt>
                <c:pt idx="165">
                  <c:v>2.6125460048472271E-2</c:v>
                </c:pt>
                <c:pt idx="166">
                  <c:v>1.152726213166011E-2</c:v>
                </c:pt>
                <c:pt idx="167">
                  <c:v>8.031890585513235E-3</c:v>
                </c:pt>
                <c:pt idx="168">
                  <c:v>5.6521564664668844E-3</c:v>
                </c:pt>
                <c:pt idx="169">
                  <c:v>2.1691884040008214E-3</c:v>
                </c:pt>
                <c:pt idx="170">
                  <c:v>-2.6062466617706725E-3</c:v>
                </c:pt>
                <c:pt idx="171">
                  <c:v>-3.3740830978138403E-3</c:v>
                </c:pt>
                <c:pt idx="172">
                  <c:v>-5.2262598071268762E-3</c:v>
                </c:pt>
                <c:pt idx="173">
                  <c:v>-7.2581606463754111E-3</c:v>
                </c:pt>
                <c:pt idx="174">
                  <c:v>-1.5487454652610699E-2</c:v>
                </c:pt>
                <c:pt idx="175">
                  <c:v>-1.6861103172251757E-2</c:v>
                </c:pt>
                <c:pt idx="176">
                  <c:v>-1.8537139280794035E-2</c:v>
                </c:pt>
                <c:pt idx="177">
                  <c:v>-6.4901249450002307E-3</c:v>
                </c:pt>
                <c:pt idx="178">
                  <c:v>-1.3444440032044702E-2</c:v>
                </c:pt>
                <c:pt idx="179">
                  <c:v>-1.1802858074749456E-2</c:v>
                </c:pt>
                <c:pt idx="180">
                  <c:v>-6.366909101633178E-3</c:v>
                </c:pt>
                <c:pt idx="181">
                  <c:v>-1.5814399986188832E-2</c:v>
                </c:pt>
                <c:pt idx="182">
                  <c:v>-2.1635178547931067E-2</c:v>
                </c:pt>
                <c:pt idx="183">
                  <c:v>-2.2881678386240445E-2</c:v>
                </c:pt>
                <c:pt idx="184">
                  <c:v>-2.3498994987688482E-2</c:v>
                </c:pt>
                <c:pt idx="185">
                  <c:v>-2.0706454672940522E-2</c:v>
                </c:pt>
                <c:pt idx="186">
                  <c:v>-2.8555061376595803E-2</c:v>
                </c:pt>
                <c:pt idx="187">
                  <c:v>-3.8255977906847649E-2</c:v>
                </c:pt>
                <c:pt idx="188">
                  <c:v>-3.0083079201882357E-2</c:v>
                </c:pt>
                <c:pt idx="189">
                  <c:v>-2.9495088787937829E-2</c:v>
                </c:pt>
                <c:pt idx="190">
                  <c:v>-4.9849927462849442E-2</c:v>
                </c:pt>
                <c:pt idx="191">
                  <c:v>-4.8367750987164393E-2</c:v>
                </c:pt>
                <c:pt idx="192">
                  <c:v>-4.6717200231992884E-2</c:v>
                </c:pt>
                <c:pt idx="193">
                  <c:v>-5.3382898212404495E-2</c:v>
                </c:pt>
                <c:pt idx="194">
                  <c:v>-5.1755775636767587E-2</c:v>
                </c:pt>
                <c:pt idx="195">
                  <c:v>-5.052024304925673E-2</c:v>
                </c:pt>
                <c:pt idx="196">
                  <c:v>-5.0328320359149692E-2</c:v>
                </c:pt>
                <c:pt idx="197">
                  <c:v>-5.281314341597132E-2</c:v>
                </c:pt>
                <c:pt idx="198">
                  <c:v>-5.3637041889031845E-2</c:v>
                </c:pt>
                <c:pt idx="199">
                  <c:v>-4.2262784037804813E-2</c:v>
                </c:pt>
                <c:pt idx="200">
                  <c:v>-3.7050248273709063E-2</c:v>
                </c:pt>
                <c:pt idx="201">
                  <c:v>-3.717570630380429E-2</c:v>
                </c:pt>
                <c:pt idx="202">
                  <c:v>-3.6682048556305635E-2</c:v>
                </c:pt>
                <c:pt idx="203">
                  <c:v>-3.4602627168453859E-2</c:v>
                </c:pt>
                <c:pt idx="204">
                  <c:v>-3.2567384615955541E-2</c:v>
                </c:pt>
                <c:pt idx="205">
                  <c:v>-4.0559561954117473E-2</c:v>
                </c:pt>
                <c:pt idx="206">
                  <c:v>-4.0502047671245323E-2</c:v>
                </c:pt>
                <c:pt idx="207">
                  <c:v>-4.5015531289314681E-2</c:v>
                </c:pt>
                <c:pt idx="208">
                  <c:v>-4.6506726142885535E-2</c:v>
                </c:pt>
                <c:pt idx="209">
                  <c:v>-5.1398069844935113E-2</c:v>
                </c:pt>
                <c:pt idx="210">
                  <c:v>-5.1135732408908896E-2</c:v>
                </c:pt>
                <c:pt idx="211">
                  <c:v>-4.3431313846036601E-2</c:v>
                </c:pt>
                <c:pt idx="212">
                  <c:v>-3.4808086416870054E-2</c:v>
                </c:pt>
                <c:pt idx="213">
                  <c:v>-3.8103128133270991E-2</c:v>
                </c:pt>
                <c:pt idx="214">
                  <c:v>-8.4339259702393199E-2</c:v>
                </c:pt>
                <c:pt idx="215">
                  <c:v>-0.10696225610397581</c:v>
                </c:pt>
                <c:pt idx="216">
                  <c:v>-0.13600765550484595</c:v>
                </c:pt>
                <c:pt idx="217">
                  <c:v>-0.16391549884135082</c:v>
                </c:pt>
                <c:pt idx="218">
                  <c:v>-0.12703846392344276</c:v>
                </c:pt>
                <c:pt idx="219">
                  <c:v>-5.6363751562112485E-2</c:v>
                </c:pt>
                <c:pt idx="220">
                  <c:v>-8.6970200235974349E-2</c:v>
                </c:pt>
                <c:pt idx="221">
                  <c:v>-8.6509859312435711E-2</c:v>
                </c:pt>
                <c:pt idx="222">
                  <c:v>-8.1356972917803638E-2</c:v>
                </c:pt>
                <c:pt idx="223">
                  <c:v>-6.8363601731009638E-2</c:v>
                </c:pt>
                <c:pt idx="224">
                  <c:v>-3.5880760161740244E-2</c:v>
                </c:pt>
                <c:pt idx="225">
                  <c:v>-4.586025713898878E-2</c:v>
                </c:pt>
                <c:pt idx="226">
                  <c:v>-4.0831760158557051E-2</c:v>
                </c:pt>
                <c:pt idx="227">
                  <c:v>-3.9744604288795671E-2</c:v>
                </c:pt>
                <c:pt idx="228">
                  <c:v>5.5692081875073907E-3</c:v>
                </c:pt>
                <c:pt idx="229">
                  <c:v>-5.1559806060750279E-3</c:v>
                </c:pt>
                <c:pt idx="230">
                  <c:v>-1.9413162782228932E-2</c:v>
                </c:pt>
                <c:pt idx="231">
                  <c:v>-4.5370007516678523E-3</c:v>
                </c:pt>
                <c:pt idx="232">
                  <c:v>-4.5352319897137949E-2</c:v>
                </c:pt>
                <c:pt idx="233">
                  <c:v>-6.5556209597601112E-2</c:v>
                </c:pt>
                <c:pt idx="234">
                  <c:v>-6.4575283527131155E-2</c:v>
                </c:pt>
                <c:pt idx="235">
                  <c:v>-6.1025252000814545E-2</c:v>
                </c:pt>
                <c:pt idx="236">
                  <c:v>-6.988122296201682E-2</c:v>
                </c:pt>
                <c:pt idx="237">
                  <c:v>-7.369079033353898E-2</c:v>
                </c:pt>
                <c:pt idx="238">
                  <c:v>-8.6304811940896897E-2</c:v>
                </c:pt>
                <c:pt idx="239">
                  <c:v>-4.1842937537056812E-2</c:v>
                </c:pt>
                <c:pt idx="240">
                  <c:v>-7.2782325245292823E-2</c:v>
                </c:pt>
                <c:pt idx="241">
                  <c:v>-8.2598272334475142E-2</c:v>
                </c:pt>
                <c:pt idx="242">
                  <c:v>-0.10723586382656713</c:v>
                </c:pt>
                <c:pt idx="243">
                  <c:v>-0.13800258553221023</c:v>
                </c:pt>
                <c:pt idx="244">
                  <c:v>-0.12398351407910302</c:v>
                </c:pt>
                <c:pt idx="245">
                  <c:v>-0.10084339334510295</c:v>
                </c:pt>
                <c:pt idx="246">
                  <c:v>-0.11176301197975713</c:v>
                </c:pt>
                <c:pt idx="247">
                  <c:v>-8.5180676826164814E-2</c:v>
                </c:pt>
                <c:pt idx="248">
                  <c:v>-9.4745239203499088E-2</c:v>
                </c:pt>
                <c:pt idx="249">
                  <c:v>-0.10798377548301463</c:v>
                </c:pt>
                <c:pt idx="250">
                  <c:v>-6.4999379773132526E-2</c:v>
                </c:pt>
                <c:pt idx="251">
                  <c:v>-9.6450922447198217E-2</c:v>
                </c:pt>
                <c:pt idx="252">
                  <c:v>-0.11287703619986345</c:v>
                </c:pt>
                <c:pt idx="253">
                  <c:v>-0.12132058653655819</c:v>
                </c:pt>
                <c:pt idx="254">
                  <c:v>-0.14537075363251151</c:v>
                </c:pt>
                <c:pt idx="255">
                  <c:v>-0.12259180395024893</c:v>
                </c:pt>
                <c:pt idx="256">
                  <c:v>-0.13853843851840286</c:v>
                </c:pt>
                <c:pt idx="257">
                  <c:v>-0.17952162783972525</c:v>
                </c:pt>
                <c:pt idx="258">
                  <c:v>-0.15375201859721566</c:v>
                </c:pt>
                <c:pt idx="259">
                  <c:v>-0.14621398903750948</c:v>
                </c:pt>
                <c:pt idx="260">
                  <c:v>-0.11415228714377057</c:v>
                </c:pt>
                <c:pt idx="261">
                  <c:v>-0.10390379624918022</c:v>
                </c:pt>
                <c:pt idx="262">
                  <c:v>-7.5155217564193078E-2</c:v>
                </c:pt>
                <c:pt idx="263">
                  <c:v>-7.0668383340976915E-2</c:v>
                </c:pt>
                <c:pt idx="264">
                  <c:v>-5.6370295689193384E-2</c:v>
                </c:pt>
                <c:pt idx="265">
                  <c:v>-3.2333742738619775E-2</c:v>
                </c:pt>
                <c:pt idx="266">
                  <c:v>-2.3466355266269834E-2</c:v>
                </c:pt>
                <c:pt idx="267">
                  <c:v>-1.3525483316328968E-2</c:v>
                </c:pt>
                <c:pt idx="268">
                  <c:v>2.5038532073751285E-2</c:v>
                </c:pt>
                <c:pt idx="269">
                  <c:v>4.9623117831116836E-3</c:v>
                </c:pt>
                <c:pt idx="270">
                  <c:v>5.7779233682788256E-2</c:v>
                </c:pt>
                <c:pt idx="271">
                  <c:v>7.9024253099811648E-2</c:v>
                </c:pt>
                <c:pt idx="272">
                  <c:v>7.8262067547208214E-2</c:v>
                </c:pt>
                <c:pt idx="273">
                  <c:v>6.020941676041347E-2</c:v>
                </c:pt>
                <c:pt idx="274">
                  <c:v>5.35065514320342E-2</c:v>
                </c:pt>
                <c:pt idx="275">
                  <c:v>4.5395545855088537E-2</c:v>
                </c:pt>
                <c:pt idx="276">
                  <c:v>1.1501961146279438E-2</c:v>
                </c:pt>
                <c:pt idx="277">
                  <c:v>-3.5792249200441661E-2</c:v>
                </c:pt>
                <c:pt idx="278">
                  <c:v>1.1348907800646679E-2</c:v>
                </c:pt>
                <c:pt idx="279">
                  <c:v>-8.2302801470800491E-3</c:v>
                </c:pt>
                <c:pt idx="280">
                  <c:v>-6.8853589785754288E-2</c:v>
                </c:pt>
                <c:pt idx="281">
                  <c:v>-2.6744151510830205E-2</c:v>
                </c:pt>
                <c:pt idx="282">
                  <c:v>-4.5466110979128338E-2</c:v>
                </c:pt>
                <c:pt idx="283">
                  <c:v>-2.4955935067902169E-2</c:v>
                </c:pt>
                <c:pt idx="284">
                  <c:v>-3.61787607402555E-2</c:v>
                </c:pt>
                <c:pt idx="285">
                  <c:v>-2.0086462912762726E-2</c:v>
                </c:pt>
                <c:pt idx="286">
                  <c:v>-4.3021774504036214E-2</c:v>
                </c:pt>
                <c:pt idx="287">
                  <c:v>-4.3343911857037232E-2</c:v>
                </c:pt>
                <c:pt idx="288">
                  <c:v>-3.529525280874235E-2</c:v>
                </c:pt>
                <c:pt idx="289">
                  <c:v>-3.8785668594637834E-2</c:v>
                </c:pt>
                <c:pt idx="290">
                  <c:v>-4.6728452358115735E-2</c:v>
                </c:pt>
                <c:pt idx="291">
                  <c:v>-4.2910075310945039E-2</c:v>
                </c:pt>
                <c:pt idx="292">
                  <c:v>-4.3557090956688804E-2</c:v>
                </c:pt>
                <c:pt idx="293">
                  <c:v>-3.6781930478787639E-2</c:v>
                </c:pt>
                <c:pt idx="294">
                  <c:v>-3.6798850174224462E-2</c:v>
                </c:pt>
                <c:pt idx="295">
                  <c:v>-3.4100144040314029E-2</c:v>
                </c:pt>
                <c:pt idx="296">
                  <c:v>-3.9639022242900723E-2</c:v>
                </c:pt>
                <c:pt idx="297">
                  <c:v>-3.7240415718031161E-2</c:v>
                </c:pt>
                <c:pt idx="298">
                  <c:v>-3.3253374348492182E-2</c:v>
                </c:pt>
                <c:pt idx="299">
                  <c:v>-3.3378433813686548E-2</c:v>
                </c:pt>
                <c:pt idx="300">
                  <c:v>-3.0538012037517492E-2</c:v>
                </c:pt>
                <c:pt idx="301">
                  <c:v>-2.8836208014440423E-2</c:v>
                </c:pt>
                <c:pt idx="302">
                  <c:v>-3.1347504459404263E-2</c:v>
                </c:pt>
                <c:pt idx="303">
                  <c:v>-2.4034129337793475E-2</c:v>
                </c:pt>
                <c:pt idx="304">
                  <c:v>-1.3404220016292934E-2</c:v>
                </c:pt>
                <c:pt idx="305">
                  <c:v>-1.5642341539168769E-2</c:v>
                </c:pt>
                <c:pt idx="306">
                  <c:v>-1.6843243612344128E-2</c:v>
                </c:pt>
                <c:pt idx="307">
                  <c:v>-8.6142852567947514E-3</c:v>
                </c:pt>
                <c:pt idx="308">
                  <c:v>-6.326379271073046E-3</c:v>
                </c:pt>
                <c:pt idx="309">
                  <c:v>6.0128558833737467E-3</c:v>
                </c:pt>
                <c:pt idx="310">
                  <c:v>1.6884740325040504E-3</c:v>
                </c:pt>
                <c:pt idx="311">
                  <c:v>1.2389325104537274E-2</c:v>
                </c:pt>
                <c:pt idx="312">
                  <c:v>4.6795812034083895E-3</c:v>
                </c:pt>
                <c:pt idx="313">
                  <c:v>1.2259728588253638E-2</c:v>
                </c:pt>
                <c:pt idx="314">
                  <c:v>2.0747999647847348E-2</c:v>
                </c:pt>
                <c:pt idx="315">
                  <c:v>2.5935701720524285E-2</c:v>
                </c:pt>
                <c:pt idx="316">
                  <c:v>3.104600027475457E-2</c:v>
                </c:pt>
                <c:pt idx="317">
                  <c:v>2.7780776873938207E-2</c:v>
                </c:pt>
                <c:pt idx="318">
                  <c:v>3.0091312499376688E-2</c:v>
                </c:pt>
                <c:pt idx="319">
                  <c:v>2.6446851202230115E-2</c:v>
                </c:pt>
                <c:pt idx="320">
                  <c:v>2.7984140414887726E-2</c:v>
                </c:pt>
                <c:pt idx="321">
                  <c:v>3.5705356096851104E-2</c:v>
                </c:pt>
                <c:pt idx="322">
                  <c:v>3.863829838498789E-2</c:v>
                </c:pt>
                <c:pt idx="323">
                  <c:v>2.6536847941599828E-2</c:v>
                </c:pt>
                <c:pt idx="324">
                  <c:v>3.2700847213677053E-2</c:v>
                </c:pt>
                <c:pt idx="325">
                  <c:v>1.7438872358186197E-2</c:v>
                </c:pt>
                <c:pt idx="326">
                  <c:v>1.8972111041323125E-2</c:v>
                </c:pt>
                <c:pt idx="327">
                  <c:v>2.5673514603520298E-3</c:v>
                </c:pt>
                <c:pt idx="328">
                  <c:v>-1.5343904348184334E-2</c:v>
                </c:pt>
                <c:pt idx="329">
                  <c:v>-2.6557164549809831E-2</c:v>
                </c:pt>
                <c:pt idx="330">
                  <c:v>-2.5230065290913539E-2</c:v>
                </c:pt>
                <c:pt idx="331">
                  <c:v>-3.2725492671567324E-2</c:v>
                </c:pt>
                <c:pt idx="332">
                  <c:v>-3.4191919787592395E-2</c:v>
                </c:pt>
                <c:pt idx="333">
                  <c:v>-3.8212700633113883E-2</c:v>
                </c:pt>
                <c:pt idx="334">
                  <c:v>-3.4143851731770036E-2</c:v>
                </c:pt>
                <c:pt idx="335">
                  <c:v>-2.8404170409040197E-2</c:v>
                </c:pt>
                <c:pt idx="336">
                  <c:v>-3.4596036564078836E-2</c:v>
                </c:pt>
                <c:pt idx="337">
                  <c:v>-3.2339595869462889E-2</c:v>
                </c:pt>
                <c:pt idx="338">
                  <c:v>-3.1708583123079448E-2</c:v>
                </c:pt>
                <c:pt idx="339">
                  <c:v>-3.7060608759911462E-2</c:v>
                </c:pt>
                <c:pt idx="340">
                  <c:v>-2.3033840758651447E-2</c:v>
                </c:pt>
                <c:pt idx="341">
                  <c:v>-1.9483917341099111E-2</c:v>
                </c:pt>
                <c:pt idx="342">
                  <c:v>-3.1143367273003264E-3</c:v>
                </c:pt>
                <c:pt idx="343">
                  <c:v>-7.4588090113248962E-3</c:v>
                </c:pt>
                <c:pt idx="344">
                  <c:v>-1.4417873413067439E-2</c:v>
                </c:pt>
                <c:pt idx="345">
                  <c:v>-7.1542913604233371E-3</c:v>
                </c:pt>
                <c:pt idx="346">
                  <c:v>-2.1037472384608624E-2</c:v>
                </c:pt>
                <c:pt idx="347">
                  <c:v>-1.8263429863456637E-2</c:v>
                </c:pt>
                <c:pt idx="348">
                  <c:v>-1.3506820214136406E-2</c:v>
                </c:pt>
                <c:pt idx="349">
                  <c:v>-1.1057663003470219E-2</c:v>
                </c:pt>
                <c:pt idx="350">
                  <c:v>-1.776787008759162E-3</c:v>
                </c:pt>
                <c:pt idx="351">
                  <c:v>6.4566186596084485E-3</c:v>
                </c:pt>
                <c:pt idx="352">
                  <c:v>1.9718828668590094E-3</c:v>
                </c:pt>
                <c:pt idx="353">
                  <c:v>-3.5929626166710804E-3</c:v>
                </c:pt>
                <c:pt idx="354">
                  <c:v>-9.7703118021440494E-3</c:v>
                </c:pt>
                <c:pt idx="355">
                  <c:v>2.0803223689459527E-3</c:v>
                </c:pt>
                <c:pt idx="356">
                  <c:v>-1.1387245634409182E-2</c:v>
                </c:pt>
                <c:pt idx="357">
                  <c:v>-6.1758233377828819E-3</c:v>
                </c:pt>
                <c:pt idx="358">
                  <c:v>1.3205356536529544E-2</c:v>
                </c:pt>
                <c:pt idx="359">
                  <c:v>2.9627442615413835E-2</c:v>
                </c:pt>
                <c:pt idx="360">
                  <c:v>1.7580788241287726E-2</c:v>
                </c:pt>
                <c:pt idx="361">
                  <c:v>1.7906085453929355E-2</c:v>
                </c:pt>
                <c:pt idx="362">
                  <c:v>3.3873427874253625E-3</c:v>
                </c:pt>
                <c:pt idx="363">
                  <c:v>7.8606130756441184E-3</c:v>
                </c:pt>
                <c:pt idx="364">
                  <c:v>6.4828829741931937E-3</c:v>
                </c:pt>
                <c:pt idx="365">
                  <c:v>8.9180158822598221E-3</c:v>
                </c:pt>
                <c:pt idx="366">
                  <c:v>1.8897589129373227E-2</c:v>
                </c:pt>
                <c:pt idx="367">
                  <c:v>2.9142584913324221E-3</c:v>
                </c:pt>
                <c:pt idx="368">
                  <c:v>8.4643113764921729E-3</c:v>
                </c:pt>
                <c:pt idx="369">
                  <c:v>1.083263448681604E-2</c:v>
                </c:pt>
                <c:pt idx="370">
                  <c:v>1.1411467605530468E-2</c:v>
                </c:pt>
                <c:pt idx="371">
                  <c:v>8.9784233038261441E-3</c:v>
                </c:pt>
                <c:pt idx="372">
                  <c:v>7.4207924982748752E-3</c:v>
                </c:pt>
                <c:pt idx="373">
                  <c:v>-2.4137948508506923E-3</c:v>
                </c:pt>
                <c:pt idx="374">
                  <c:v>-6.9782107089763068E-3</c:v>
                </c:pt>
                <c:pt idx="375">
                  <c:v>5.0520412060872655E-4</c:v>
                </c:pt>
                <c:pt idx="376">
                  <c:v>-3.4766059373018132E-3</c:v>
                </c:pt>
                <c:pt idx="377">
                  <c:v>-2.6327279078675048E-3</c:v>
                </c:pt>
                <c:pt idx="378">
                  <c:v>-1.1249420891217166E-2</c:v>
                </c:pt>
                <c:pt idx="379">
                  <c:v>-4.6198173979887791E-3</c:v>
                </c:pt>
                <c:pt idx="380">
                  <c:v>-5.7098895300135011E-3</c:v>
                </c:pt>
                <c:pt idx="381">
                  <c:v>-1.210234199760496E-2</c:v>
                </c:pt>
                <c:pt idx="382">
                  <c:v>-8.707332385540556E-3</c:v>
                </c:pt>
                <c:pt idx="383">
                  <c:v>-7.4906501628043687E-3</c:v>
                </c:pt>
                <c:pt idx="384">
                  <c:v>-4.411368316213915E-3</c:v>
                </c:pt>
                <c:pt idx="385">
                  <c:v>4.3930674718616336E-3</c:v>
                </c:pt>
                <c:pt idx="386">
                  <c:v>5.2068754551372054E-3</c:v>
                </c:pt>
                <c:pt idx="387">
                  <c:v>2.4073766187965306E-3</c:v>
                </c:pt>
                <c:pt idx="388">
                  <c:v>1.7928127859462295E-3</c:v>
                </c:pt>
                <c:pt idx="389">
                  <c:v>-3.6236246046148501E-3</c:v>
                </c:pt>
                <c:pt idx="390">
                  <c:v>-4.0967570978482915E-3</c:v>
                </c:pt>
                <c:pt idx="391">
                  <c:v>7.8836185766628653E-4</c:v>
                </c:pt>
                <c:pt idx="392">
                  <c:v>-1.7424833125079253E-4</c:v>
                </c:pt>
                <c:pt idx="393">
                  <c:v>-1.7203250109443458E-2</c:v>
                </c:pt>
                <c:pt idx="394">
                  <c:v>-3.2903467351687921E-2</c:v>
                </c:pt>
                <c:pt idx="395">
                  <c:v>-3.504417634355006E-2</c:v>
                </c:pt>
                <c:pt idx="396">
                  <c:v>-3.5745259807301699E-2</c:v>
                </c:pt>
                <c:pt idx="397">
                  <c:v>-1.7448498383883515E-2</c:v>
                </c:pt>
                <c:pt idx="398">
                  <c:v>-2.2639342398170226E-2</c:v>
                </c:pt>
                <c:pt idx="399">
                  <c:v>-2.2695726710020736E-2</c:v>
                </c:pt>
                <c:pt idx="400">
                  <c:v>-2.7126672852885392E-2</c:v>
                </c:pt>
                <c:pt idx="401">
                  <c:v>-2.4916296967457674E-2</c:v>
                </c:pt>
                <c:pt idx="402">
                  <c:v>-2.5566031392670552E-2</c:v>
                </c:pt>
                <c:pt idx="403">
                  <c:v>-1.6934068378265166E-2</c:v>
                </c:pt>
                <c:pt idx="404">
                  <c:v>-1.2049014814710879E-2</c:v>
                </c:pt>
                <c:pt idx="405">
                  <c:v>-2.2984219965895392E-2</c:v>
                </c:pt>
                <c:pt idx="406">
                  <c:v>-2.1930305871942779E-2</c:v>
                </c:pt>
                <c:pt idx="407">
                  <c:v>-1.9875511304021098E-2</c:v>
                </c:pt>
                <c:pt idx="408">
                  <c:v>-1.077766903228583E-2</c:v>
                </c:pt>
                <c:pt idx="409">
                  <c:v>-1.1103434738861995E-2</c:v>
                </c:pt>
                <c:pt idx="410">
                  <c:v>-4.2945177639700516E-3</c:v>
                </c:pt>
                <c:pt idx="411">
                  <c:v>-6.1516619357473434E-3</c:v>
                </c:pt>
                <c:pt idx="412">
                  <c:v>-7.4193567661126059E-3</c:v>
                </c:pt>
                <c:pt idx="413">
                  <c:v>2.157078523011613E-3</c:v>
                </c:pt>
                <c:pt idx="414">
                  <c:v>-2.9500928934964588E-3</c:v>
                </c:pt>
                <c:pt idx="415">
                  <c:v>-5.3972769658116038E-3</c:v>
                </c:pt>
                <c:pt idx="416">
                  <c:v>2.8967399167023622E-3</c:v>
                </c:pt>
                <c:pt idx="417">
                  <c:v>8.4690803671307879E-3</c:v>
                </c:pt>
                <c:pt idx="418">
                  <c:v>7.9281127026167297E-3</c:v>
                </c:pt>
                <c:pt idx="419">
                  <c:v>1.2590218928686614E-2</c:v>
                </c:pt>
                <c:pt idx="420">
                  <c:v>7.134806135546512E-3</c:v>
                </c:pt>
                <c:pt idx="421">
                  <c:v>3.8277318122071913E-3</c:v>
                </c:pt>
                <c:pt idx="422">
                  <c:v>1.6127231301068856E-2</c:v>
                </c:pt>
                <c:pt idx="423">
                  <c:v>2.9091739691575857E-2</c:v>
                </c:pt>
                <c:pt idx="424">
                  <c:v>3.9983327329175977E-2</c:v>
                </c:pt>
                <c:pt idx="425">
                  <c:v>4.1204472592399788E-2</c:v>
                </c:pt>
                <c:pt idx="426">
                  <c:v>4.3693998620146779E-2</c:v>
                </c:pt>
                <c:pt idx="427">
                  <c:v>4.4802749269792441E-2</c:v>
                </c:pt>
                <c:pt idx="428">
                  <c:v>5.3156621325326503E-2</c:v>
                </c:pt>
                <c:pt idx="429">
                  <c:v>5.3881984148883344E-2</c:v>
                </c:pt>
                <c:pt idx="430">
                  <c:v>5.2632014969718921E-2</c:v>
                </c:pt>
                <c:pt idx="431">
                  <c:v>4.111025282691616E-2</c:v>
                </c:pt>
                <c:pt idx="432">
                  <c:v>4.4010572527069081E-2</c:v>
                </c:pt>
                <c:pt idx="433">
                  <c:v>3.272737203956777E-2</c:v>
                </c:pt>
                <c:pt idx="434">
                  <c:v>4.0017356174048446E-2</c:v>
                </c:pt>
                <c:pt idx="435">
                  <c:v>4.3913196859972303E-2</c:v>
                </c:pt>
                <c:pt idx="436">
                  <c:v>4.6342470722778195E-2</c:v>
                </c:pt>
                <c:pt idx="437">
                  <c:v>3.9530405170134841E-2</c:v>
                </c:pt>
                <c:pt idx="438">
                  <c:v>3.5864664186623596E-2</c:v>
                </c:pt>
                <c:pt idx="439">
                  <c:v>2.2016538762188786E-2</c:v>
                </c:pt>
                <c:pt idx="440">
                  <c:v>1.2637962359508537E-2</c:v>
                </c:pt>
                <c:pt idx="441">
                  <c:v>1.1196477604934696E-2</c:v>
                </c:pt>
                <c:pt idx="442">
                  <c:v>1.1737058893769081E-2</c:v>
                </c:pt>
                <c:pt idx="443">
                  <c:v>1.2290250986547346E-2</c:v>
                </c:pt>
                <c:pt idx="444">
                  <c:v>1.158187065094729E-2</c:v>
                </c:pt>
                <c:pt idx="445">
                  <c:v>9.7795892508175664E-3</c:v>
                </c:pt>
                <c:pt idx="446">
                  <c:v>1.248940649270569E-2</c:v>
                </c:pt>
                <c:pt idx="447">
                  <c:v>8.5738474065892856E-3</c:v>
                </c:pt>
                <c:pt idx="448">
                  <c:v>4.1224666136631116E-3</c:v>
                </c:pt>
                <c:pt idx="449">
                  <c:v>4.5758288140566039E-3</c:v>
                </c:pt>
                <c:pt idx="450">
                  <c:v>1.1283240295475561E-2</c:v>
                </c:pt>
                <c:pt idx="451">
                  <c:v>1.9744504339078484E-2</c:v>
                </c:pt>
                <c:pt idx="452">
                  <c:v>1.1668884780700828E-2</c:v>
                </c:pt>
                <c:pt idx="453">
                  <c:v>7.9738769101234119E-3</c:v>
                </c:pt>
                <c:pt idx="454">
                  <c:v>1.151804183153915E-2</c:v>
                </c:pt>
                <c:pt idx="455">
                  <c:v>1.9233898679488326E-2</c:v>
                </c:pt>
                <c:pt idx="456">
                  <c:v>-1.0623129883458038E-3</c:v>
                </c:pt>
                <c:pt idx="457">
                  <c:v>-3.4335855849587649E-4</c:v>
                </c:pt>
                <c:pt idx="458">
                  <c:v>-4.564498864325639E-4</c:v>
                </c:pt>
                <c:pt idx="459">
                  <c:v>-9.2655303708980563E-3</c:v>
                </c:pt>
                <c:pt idx="460">
                  <c:v>-6.2979287117295168E-3</c:v>
                </c:pt>
                <c:pt idx="461">
                  <c:v>-8.9270672113375138E-3</c:v>
                </c:pt>
                <c:pt idx="462">
                  <c:v>-1.1762906713634558E-2</c:v>
                </c:pt>
                <c:pt idx="463">
                  <c:v>7.5154822865841631E-4</c:v>
                </c:pt>
                <c:pt idx="464">
                  <c:v>-8.0834970905894199E-3</c:v>
                </c:pt>
                <c:pt idx="465">
                  <c:v>-1.2079030591831907E-2</c:v>
                </c:pt>
                <c:pt idx="466">
                  <c:v>-1.2062762420979478E-2</c:v>
                </c:pt>
                <c:pt idx="467">
                  <c:v>-8.5871633618382903E-3</c:v>
                </c:pt>
                <c:pt idx="468">
                  <c:v>-1.1493860828244107E-2</c:v>
                </c:pt>
                <c:pt idx="469">
                  <c:v>2.8000027021080065E-3</c:v>
                </c:pt>
                <c:pt idx="470">
                  <c:v>6.2628129456598902E-3</c:v>
                </c:pt>
                <c:pt idx="471">
                  <c:v>9.2544579015830797E-3</c:v>
                </c:pt>
                <c:pt idx="472">
                  <c:v>1.3553149158029187E-2</c:v>
                </c:pt>
                <c:pt idx="473">
                  <c:v>1.9097799015712624E-2</c:v>
                </c:pt>
                <c:pt idx="474">
                  <c:v>2.7015622661904493E-2</c:v>
                </c:pt>
                <c:pt idx="475">
                  <c:v>1.8255475224435935E-2</c:v>
                </c:pt>
                <c:pt idx="476">
                  <c:v>1.1986881571743324E-2</c:v>
                </c:pt>
                <c:pt idx="477">
                  <c:v>7.2807505665103411E-3</c:v>
                </c:pt>
                <c:pt idx="478">
                  <c:v>1.0775349466729756E-2</c:v>
                </c:pt>
                <c:pt idx="479">
                  <c:v>9.8561590439866231E-3</c:v>
                </c:pt>
                <c:pt idx="480">
                  <c:v>1.2024150401504063E-2</c:v>
                </c:pt>
                <c:pt idx="481">
                  <c:v>3.5047241114080085E-3</c:v>
                </c:pt>
                <c:pt idx="482">
                  <c:v>1.1111505736109972E-2</c:v>
                </c:pt>
                <c:pt idx="483">
                  <c:v>9.3787890255552231E-3</c:v>
                </c:pt>
                <c:pt idx="484">
                  <c:v>2.7244444315588368E-3</c:v>
                </c:pt>
                <c:pt idx="485">
                  <c:v>-1.6414913850756774E-2</c:v>
                </c:pt>
                <c:pt idx="486">
                  <c:v>-2.9386506856995398E-3</c:v>
                </c:pt>
                <c:pt idx="487">
                  <c:v>-3.6258214006645861E-4</c:v>
                </c:pt>
                <c:pt idx="488">
                  <c:v>-9.0438139312282173E-3</c:v>
                </c:pt>
                <c:pt idx="489">
                  <c:v>-1.7669884875708086E-2</c:v>
                </c:pt>
                <c:pt idx="490">
                  <c:v>-1.7189443276918626E-2</c:v>
                </c:pt>
                <c:pt idx="491">
                  <c:v>-4.8080364144520438E-3</c:v>
                </c:pt>
                <c:pt idx="492">
                  <c:v>-5.3735176930059803E-3</c:v>
                </c:pt>
                <c:pt idx="493">
                  <c:v>-2.0105455002088934E-2</c:v>
                </c:pt>
                <c:pt idx="494">
                  <c:v>-1.0215366545175519E-2</c:v>
                </c:pt>
                <c:pt idx="495">
                  <c:v>-1.2456106810633583E-2</c:v>
                </c:pt>
                <c:pt idx="496">
                  <c:v>-7.8606033728341185E-3</c:v>
                </c:pt>
                <c:pt idx="497">
                  <c:v>-1.1090754833543714E-2</c:v>
                </c:pt>
                <c:pt idx="498">
                  <c:v>-9.8698367162575185E-3</c:v>
                </c:pt>
                <c:pt idx="499">
                  <c:v>-1.201894401117265E-2</c:v>
                </c:pt>
                <c:pt idx="500">
                  <c:v>-9.1484768727574384E-3</c:v>
                </c:pt>
                <c:pt idx="501">
                  <c:v>-6.1350895413043727E-3</c:v>
                </c:pt>
                <c:pt idx="502">
                  <c:v>-9.3536412789771983E-3</c:v>
                </c:pt>
                <c:pt idx="503">
                  <c:v>-1.57613060078301E-2</c:v>
                </c:pt>
                <c:pt idx="504">
                  <c:v>-2.2977036047659993E-2</c:v>
                </c:pt>
                <c:pt idx="505">
                  <c:v>-1.4008228513514132E-2</c:v>
                </c:pt>
                <c:pt idx="506">
                  <c:v>-1.3336121823550151E-2</c:v>
                </c:pt>
                <c:pt idx="507">
                  <c:v>-9.4681842332029476E-3</c:v>
                </c:pt>
                <c:pt idx="508">
                  <c:v>-8.548746373566618E-3</c:v>
                </c:pt>
                <c:pt idx="509">
                  <c:v>-1.4955019033530026E-2</c:v>
                </c:pt>
                <c:pt idx="510">
                  <c:v>-1.4191022195598313E-2</c:v>
                </c:pt>
                <c:pt idx="511">
                  <c:v>-1.9903441118778065E-2</c:v>
                </c:pt>
                <c:pt idx="512">
                  <c:v>-2.1862084845750918E-2</c:v>
                </c:pt>
                <c:pt idx="513">
                  <c:v>-1.60284210908479E-2</c:v>
                </c:pt>
                <c:pt idx="514">
                  <c:v>-1.1133116155827683E-2</c:v>
                </c:pt>
                <c:pt idx="515">
                  <c:v>4.1925207889284E-3</c:v>
                </c:pt>
                <c:pt idx="516">
                  <c:v>4.4999450784737327E-3</c:v>
                </c:pt>
                <c:pt idx="517">
                  <c:v>-2.381968230566911E-3</c:v>
                </c:pt>
                <c:pt idx="518">
                  <c:v>7.6646251208016825E-3</c:v>
                </c:pt>
                <c:pt idx="519">
                  <c:v>1.6518042623894225E-2</c:v>
                </c:pt>
                <c:pt idx="520">
                  <c:v>1.3468280248007836E-2</c:v>
                </c:pt>
                <c:pt idx="521">
                  <c:v>1.0233547263230669E-2</c:v>
                </c:pt>
                <c:pt idx="522">
                  <c:v>1.3272837271788962E-2</c:v>
                </c:pt>
                <c:pt idx="523">
                  <c:v>2.2716112082078022E-2</c:v>
                </c:pt>
                <c:pt idx="524">
                  <c:v>2.1459058829692901E-2</c:v>
                </c:pt>
                <c:pt idx="525">
                  <c:v>1.938032049337679E-2</c:v>
                </c:pt>
                <c:pt idx="526">
                  <c:v>1.6288296940759284E-2</c:v>
                </c:pt>
                <c:pt idx="527">
                  <c:v>1.8356861501839461E-2</c:v>
                </c:pt>
                <c:pt idx="528">
                  <c:v>1.5026385952446208E-2</c:v>
                </c:pt>
                <c:pt idx="529">
                  <c:v>1.2192569179679036E-2</c:v>
                </c:pt>
                <c:pt idx="530">
                  <c:v>1.2304051781950043E-2</c:v>
                </c:pt>
                <c:pt idx="531">
                  <c:v>1.1955713780846255E-2</c:v>
                </c:pt>
                <c:pt idx="532">
                  <c:v>1.8683793346577771E-3</c:v>
                </c:pt>
                <c:pt idx="533">
                  <c:v>3.5448668867915645E-3</c:v>
                </c:pt>
                <c:pt idx="534">
                  <c:v>3.216882118008968E-3</c:v>
                </c:pt>
                <c:pt idx="535">
                  <c:v>-5.537696630114386E-3</c:v>
                </c:pt>
                <c:pt idx="536">
                  <c:v>-4.8353503205688098E-3</c:v>
                </c:pt>
                <c:pt idx="537">
                  <c:v>-1.3550134518646173E-3</c:v>
                </c:pt>
                <c:pt idx="538">
                  <c:v>-1.3061896376443949E-3</c:v>
                </c:pt>
                <c:pt idx="539">
                  <c:v>5.8006229902309858E-3</c:v>
                </c:pt>
                <c:pt idx="540">
                  <c:v>1.3071610194193228E-2</c:v>
                </c:pt>
                <c:pt idx="541">
                  <c:v>2.257477854358958E-2</c:v>
                </c:pt>
                <c:pt idx="542">
                  <c:v>2.7708522260948998E-2</c:v>
                </c:pt>
                <c:pt idx="543">
                  <c:v>2.2209383254196302E-2</c:v>
                </c:pt>
                <c:pt idx="544">
                  <c:v>1.9326399331328847E-2</c:v>
                </c:pt>
                <c:pt idx="545">
                  <c:v>4.7629717687420747E-3</c:v>
                </c:pt>
                <c:pt idx="546">
                  <c:v>3.5434583640230333E-3</c:v>
                </c:pt>
                <c:pt idx="547">
                  <c:v>1.1857965092036848E-2</c:v>
                </c:pt>
                <c:pt idx="548">
                  <c:v>1.7642470238126373E-2</c:v>
                </c:pt>
                <c:pt idx="549">
                  <c:v>1.8486263462806907E-2</c:v>
                </c:pt>
                <c:pt idx="550">
                  <c:v>1.6268069448461708E-2</c:v>
                </c:pt>
                <c:pt idx="551">
                  <c:v>2.7698171376313363E-2</c:v>
                </c:pt>
                <c:pt idx="552">
                  <c:v>2.9338471041478131E-2</c:v>
                </c:pt>
                <c:pt idx="553">
                  <c:v>2.4936220885616089E-2</c:v>
                </c:pt>
                <c:pt idx="554">
                  <c:v>2.7170636576324236E-2</c:v>
                </c:pt>
                <c:pt idx="555">
                  <c:v>2.9107226677279607E-2</c:v>
                </c:pt>
                <c:pt idx="556">
                  <c:v>3.0773433429071129E-2</c:v>
                </c:pt>
                <c:pt idx="557">
                  <c:v>3.6043002081943887E-2</c:v>
                </c:pt>
                <c:pt idx="558">
                  <c:v>3.2983651701770533E-2</c:v>
                </c:pt>
                <c:pt idx="559">
                  <c:v>2.9127818107716141E-2</c:v>
                </c:pt>
                <c:pt idx="560">
                  <c:v>3.2742913828008979E-2</c:v>
                </c:pt>
                <c:pt idx="561">
                  <c:v>2.8477318186100331E-2</c:v>
                </c:pt>
                <c:pt idx="562">
                  <c:v>3.9666351705828995E-2</c:v>
                </c:pt>
                <c:pt idx="563">
                  <c:v>2.9432573369162718E-2</c:v>
                </c:pt>
                <c:pt idx="564">
                  <c:v>2.4499562090413485E-2</c:v>
                </c:pt>
                <c:pt idx="565">
                  <c:v>2.9634792014756384E-2</c:v>
                </c:pt>
                <c:pt idx="566">
                  <c:v>2.6934933205607359E-2</c:v>
                </c:pt>
                <c:pt idx="567">
                  <c:v>2.092501501143762E-2</c:v>
                </c:pt>
                <c:pt idx="568">
                  <c:v>1.9524944361104635E-2</c:v>
                </c:pt>
                <c:pt idx="569">
                  <c:v>9.3304407980404624E-3</c:v>
                </c:pt>
                <c:pt idx="570">
                  <c:v>-2.0938425983377806E-3</c:v>
                </c:pt>
                <c:pt idx="571">
                  <c:v>-4.4899652211789487E-3</c:v>
                </c:pt>
                <c:pt idx="572">
                  <c:v>-3.3212521664131023E-3</c:v>
                </c:pt>
                <c:pt idx="573">
                  <c:v>2.2167222197116976E-3</c:v>
                </c:pt>
                <c:pt idx="574">
                  <c:v>1.6554595226760949E-3</c:v>
                </c:pt>
                <c:pt idx="575">
                  <c:v>1.1387752303036014E-2</c:v>
                </c:pt>
                <c:pt idx="576">
                  <c:v>1.008378240615182E-2</c:v>
                </c:pt>
                <c:pt idx="577">
                  <c:v>6.0135243879844147E-3</c:v>
                </c:pt>
                <c:pt idx="578">
                  <c:v>-3.7673527155304143E-3</c:v>
                </c:pt>
                <c:pt idx="579">
                  <c:v>-2.0265594513892982E-2</c:v>
                </c:pt>
                <c:pt idx="580">
                  <c:v>-2.1229189341730681E-2</c:v>
                </c:pt>
                <c:pt idx="581">
                  <c:v>-3.925229425355603E-2</c:v>
                </c:pt>
                <c:pt idx="582">
                  <c:v>-4.1271115110724899E-2</c:v>
                </c:pt>
                <c:pt idx="583">
                  <c:v>-4.8636364414993194E-2</c:v>
                </c:pt>
                <c:pt idx="584">
                  <c:v>-5.2043208800204743E-2</c:v>
                </c:pt>
                <c:pt idx="585">
                  <c:v>-5.0290986558614859E-2</c:v>
                </c:pt>
                <c:pt idx="586">
                  <c:v>-4.9371861819129115E-2</c:v>
                </c:pt>
                <c:pt idx="587">
                  <c:v>-6.5485702348675345E-2</c:v>
                </c:pt>
                <c:pt idx="588">
                  <c:v>-7.5919889751223435E-2</c:v>
                </c:pt>
                <c:pt idx="589">
                  <c:v>-7.8215435145378875E-2</c:v>
                </c:pt>
                <c:pt idx="590">
                  <c:v>-8.1266166099763448E-2</c:v>
                </c:pt>
                <c:pt idx="591">
                  <c:v>-7.9453939134160878E-2</c:v>
                </c:pt>
                <c:pt idx="592">
                  <c:v>-8.7856875766527898E-2</c:v>
                </c:pt>
                <c:pt idx="593">
                  <c:v>-7.0410027615250281E-2</c:v>
                </c:pt>
                <c:pt idx="594">
                  <c:v>-6.6878232357068246E-2</c:v>
                </c:pt>
                <c:pt idx="595">
                  <c:v>-6.2222151327534392E-2</c:v>
                </c:pt>
                <c:pt idx="596">
                  <c:v>-6.5732141721072668E-2</c:v>
                </c:pt>
                <c:pt idx="597">
                  <c:v>-6.4509011919817949E-2</c:v>
                </c:pt>
                <c:pt idx="598">
                  <c:v>-6.0658068633858697E-2</c:v>
                </c:pt>
                <c:pt idx="599">
                  <c:v>-5.0285113464371145E-2</c:v>
                </c:pt>
                <c:pt idx="600">
                  <c:v>-3.8005257044017138E-2</c:v>
                </c:pt>
                <c:pt idx="601">
                  <c:v>-4.7928977120751948E-2</c:v>
                </c:pt>
                <c:pt idx="602">
                  <c:v>-3.9752341865243568E-2</c:v>
                </c:pt>
                <c:pt idx="603">
                  <c:v>-5.6581491675311568E-5</c:v>
                </c:pt>
                <c:pt idx="604">
                  <c:v>1.2028463305377435E-2</c:v>
                </c:pt>
                <c:pt idx="605">
                  <c:v>2.9664835149855184E-3</c:v>
                </c:pt>
                <c:pt idx="606">
                  <c:v>-1.5595888054174334E-2</c:v>
                </c:pt>
                <c:pt idx="607">
                  <c:v>-1.4677317339496287E-2</c:v>
                </c:pt>
                <c:pt idx="608">
                  <c:v>-4.1530238403096886E-3</c:v>
                </c:pt>
                <c:pt idx="609">
                  <c:v>-1.6591207017771725E-2</c:v>
                </c:pt>
                <c:pt idx="610">
                  <c:v>-3.3900103691398398E-2</c:v>
                </c:pt>
                <c:pt idx="611">
                  <c:v>9.1713487670678218E-3</c:v>
                </c:pt>
                <c:pt idx="612">
                  <c:v>8.3781233955289025E-3</c:v>
                </c:pt>
                <c:pt idx="613">
                  <c:v>7.3643762189019579E-3</c:v>
                </c:pt>
                <c:pt idx="614">
                  <c:v>-7.0857555965504471E-3</c:v>
                </c:pt>
                <c:pt idx="615">
                  <c:v>-1.1706727760167013E-2</c:v>
                </c:pt>
                <c:pt idx="616">
                  <c:v>-1.5536681635376803E-2</c:v>
                </c:pt>
                <c:pt idx="617">
                  <c:v>4.813930130004862E-3</c:v>
                </c:pt>
                <c:pt idx="618">
                  <c:v>-1.7849755328280814E-4</c:v>
                </c:pt>
                <c:pt idx="619">
                  <c:v>1.519695021325429E-2</c:v>
                </c:pt>
                <c:pt idx="620">
                  <c:v>3.5947878297434732E-2</c:v>
                </c:pt>
                <c:pt idx="621">
                  <c:v>2.702208586771615E-2</c:v>
                </c:pt>
                <c:pt idx="622">
                  <c:v>6.3748030688285828E-2</c:v>
                </c:pt>
                <c:pt idx="623">
                  <c:v>7.9193240300333478E-2</c:v>
                </c:pt>
                <c:pt idx="624">
                  <c:v>8.0253787131804644E-2</c:v>
                </c:pt>
                <c:pt idx="625">
                  <c:v>9.2485356145323827E-2</c:v>
                </c:pt>
                <c:pt idx="626">
                  <c:v>9.039062708787815E-2</c:v>
                </c:pt>
                <c:pt idx="627">
                  <c:v>7.9630088317542702E-2</c:v>
                </c:pt>
                <c:pt idx="628">
                  <c:v>7.5877269860935681E-2</c:v>
                </c:pt>
                <c:pt idx="629">
                  <c:v>6.704311975921029E-2</c:v>
                </c:pt>
                <c:pt idx="630">
                  <c:v>4.1239955688779029E-2</c:v>
                </c:pt>
                <c:pt idx="631">
                  <c:v>8.054479995607583E-2</c:v>
                </c:pt>
                <c:pt idx="632">
                  <c:v>8.7726790408698574E-2</c:v>
                </c:pt>
                <c:pt idx="633">
                  <c:v>5.1278140943138983E-2</c:v>
                </c:pt>
                <c:pt idx="634">
                  <c:v>3.2974690034344056E-2</c:v>
                </c:pt>
                <c:pt idx="635">
                  <c:v>3.863049725451595E-2</c:v>
                </c:pt>
                <c:pt idx="636">
                  <c:v>6.3307849976118935E-2</c:v>
                </c:pt>
                <c:pt idx="637">
                  <c:v>6.7620791820377502E-2</c:v>
                </c:pt>
                <c:pt idx="638">
                  <c:v>7.3278481165752307E-2</c:v>
                </c:pt>
                <c:pt idx="639">
                  <c:v>6.1024065659024129E-2</c:v>
                </c:pt>
                <c:pt idx="640">
                  <c:v>7.8287859782877445E-2</c:v>
                </c:pt>
                <c:pt idx="641">
                  <c:v>7.2191391016629747E-2</c:v>
                </c:pt>
                <c:pt idx="642">
                  <c:v>5.3439307636820366E-2</c:v>
                </c:pt>
                <c:pt idx="643">
                  <c:v>3.3202890812360386E-2</c:v>
                </c:pt>
                <c:pt idx="644">
                  <c:v>2.7887387480263204E-2</c:v>
                </c:pt>
                <c:pt idx="645">
                  <c:v>2.8308378217672514E-2</c:v>
                </c:pt>
                <c:pt idx="646">
                  <c:v>-5.8148158416520213E-2</c:v>
                </c:pt>
                <c:pt idx="647">
                  <c:v>-5.2005285614484587E-2</c:v>
                </c:pt>
                <c:pt idx="648">
                  <c:v>-5.396901111916752E-2</c:v>
                </c:pt>
                <c:pt idx="649">
                  <c:v>-5.4079850817540742E-2</c:v>
                </c:pt>
                <c:pt idx="650">
                  <c:v>-3.3838193187062382E-2</c:v>
                </c:pt>
                <c:pt idx="651">
                  <c:v>-1.8374780954381387E-2</c:v>
                </c:pt>
                <c:pt idx="652">
                  <c:v>-2.5088620854081256E-3</c:v>
                </c:pt>
                <c:pt idx="653">
                  <c:v>5.297010154804549E-3</c:v>
                </c:pt>
                <c:pt idx="654">
                  <c:v>1.3188476838915109E-2</c:v>
                </c:pt>
                <c:pt idx="655">
                  <c:v>-1.6917189474586536E-2</c:v>
                </c:pt>
                <c:pt idx="656">
                  <c:v>-2.4472575060840995E-3</c:v>
                </c:pt>
                <c:pt idx="657">
                  <c:v>-6.155708879139743E-3</c:v>
                </c:pt>
                <c:pt idx="658">
                  <c:v>-1.7939982773469088E-2</c:v>
                </c:pt>
                <c:pt idx="659">
                  <c:v>-1.7517775416365566E-2</c:v>
                </c:pt>
                <c:pt idx="660">
                  <c:v>3.7303463640343537E-3</c:v>
                </c:pt>
                <c:pt idx="661">
                  <c:v>2.9906248670705904E-2</c:v>
                </c:pt>
                <c:pt idx="662">
                  <c:v>8.0115268486259605E-2</c:v>
                </c:pt>
                <c:pt idx="663">
                  <c:v>8.111503683185306E-2</c:v>
                </c:pt>
                <c:pt idx="664">
                  <c:v>6.4616612806210005E-2</c:v>
                </c:pt>
                <c:pt idx="665">
                  <c:v>6.039835627223944E-2</c:v>
                </c:pt>
                <c:pt idx="666">
                  <c:v>7.390405934690214E-2</c:v>
                </c:pt>
                <c:pt idx="667">
                  <c:v>5.3324466835960815E-2</c:v>
                </c:pt>
                <c:pt idx="668">
                  <c:v>4.8290057086508575E-3</c:v>
                </c:pt>
                <c:pt idx="669">
                  <c:v>4.7071837438229513E-2</c:v>
                </c:pt>
                <c:pt idx="670">
                  <c:v>4.7014740498623531E-2</c:v>
                </c:pt>
                <c:pt idx="671">
                  <c:v>5.2265526461071965E-2</c:v>
                </c:pt>
                <c:pt idx="672">
                  <c:v>6.6908988745045694E-2</c:v>
                </c:pt>
                <c:pt idx="673">
                  <c:v>3.9448801734185412E-2</c:v>
                </c:pt>
                <c:pt idx="674">
                  <c:v>2.3932691599876987E-2</c:v>
                </c:pt>
                <c:pt idx="675">
                  <c:v>1.9438690792160096E-2</c:v>
                </c:pt>
                <c:pt idx="676">
                  <c:v>2.2837992817930641E-2</c:v>
                </c:pt>
                <c:pt idx="677">
                  <c:v>2.2058833664646116E-2</c:v>
                </c:pt>
                <c:pt idx="678">
                  <c:v>2.8506597210241291E-2</c:v>
                </c:pt>
                <c:pt idx="679">
                  <c:v>2.9568135264466999E-2</c:v>
                </c:pt>
                <c:pt idx="680">
                  <c:v>2.6200645690362845E-2</c:v>
                </c:pt>
                <c:pt idx="681">
                  <c:v>2.0130843350977368E-2</c:v>
                </c:pt>
                <c:pt idx="682">
                  <c:v>2.476767343348496E-2</c:v>
                </c:pt>
                <c:pt idx="683">
                  <c:v>2.3332348148689119E-2</c:v>
                </c:pt>
                <c:pt idx="684">
                  <c:v>1.6995835894520139E-2</c:v>
                </c:pt>
                <c:pt idx="685">
                  <c:v>3.3178522327635407E-2</c:v>
                </c:pt>
                <c:pt idx="686">
                  <c:v>3.9435259384329124E-2</c:v>
                </c:pt>
                <c:pt idx="687">
                  <c:v>4.063589771886944E-2</c:v>
                </c:pt>
                <c:pt idx="688">
                  <c:v>4.380086671561978E-2</c:v>
                </c:pt>
                <c:pt idx="689">
                  <c:v>4.4809357727847998E-2</c:v>
                </c:pt>
                <c:pt idx="690">
                  <c:v>4.5094655569346775E-2</c:v>
                </c:pt>
                <c:pt idx="691">
                  <c:v>5.4512169753432538E-2</c:v>
                </c:pt>
                <c:pt idx="692">
                  <c:v>4.8397766064422809E-2</c:v>
                </c:pt>
                <c:pt idx="693">
                  <c:v>4.7160348975188282E-2</c:v>
                </c:pt>
                <c:pt idx="694">
                  <c:v>4.7692598297303546E-2</c:v>
                </c:pt>
                <c:pt idx="695">
                  <c:v>4.767829175306959E-2</c:v>
                </c:pt>
                <c:pt idx="696">
                  <c:v>4.8801973199959936E-2</c:v>
                </c:pt>
                <c:pt idx="697">
                  <c:v>5.0656599168279137E-2</c:v>
                </c:pt>
                <c:pt idx="698">
                  <c:v>5.2439891849780818E-2</c:v>
                </c:pt>
                <c:pt idx="699">
                  <c:v>5.2537668013081795E-2</c:v>
                </c:pt>
                <c:pt idx="700">
                  <c:v>5.3744700769472908E-2</c:v>
                </c:pt>
                <c:pt idx="701">
                  <c:v>4.7578582677995085E-2</c:v>
                </c:pt>
                <c:pt idx="702">
                  <c:v>4.7952019908713339E-2</c:v>
                </c:pt>
                <c:pt idx="703">
                  <c:v>4.3101870017434152E-2</c:v>
                </c:pt>
                <c:pt idx="704">
                  <c:v>4.631619137512033E-2</c:v>
                </c:pt>
                <c:pt idx="705">
                  <c:v>4.8239688217719623E-2</c:v>
                </c:pt>
                <c:pt idx="706">
                  <c:v>4.5982352726158582E-2</c:v>
                </c:pt>
                <c:pt idx="707">
                  <c:v>3.4083902013295586E-2</c:v>
                </c:pt>
                <c:pt idx="708">
                  <c:v>2.4502932092117624E-2</c:v>
                </c:pt>
                <c:pt idx="709">
                  <c:v>1.1796711207586186E-2</c:v>
                </c:pt>
                <c:pt idx="710">
                  <c:v>1.343400607122458E-2</c:v>
                </c:pt>
                <c:pt idx="711">
                  <c:v>2.2574957027685083E-2</c:v>
                </c:pt>
                <c:pt idx="712">
                  <c:v>2.009957892559977E-2</c:v>
                </c:pt>
                <c:pt idx="713">
                  <c:v>2.3664381853144123E-2</c:v>
                </c:pt>
                <c:pt idx="714">
                  <c:v>2.6658806499564758E-2</c:v>
                </c:pt>
                <c:pt idx="715">
                  <c:v>6.1429711304268331E-3</c:v>
                </c:pt>
                <c:pt idx="716">
                  <c:v>1.0386297437810943E-2</c:v>
                </c:pt>
                <c:pt idx="717">
                  <c:v>1.0193003868092965E-2</c:v>
                </c:pt>
                <c:pt idx="718">
                  <c:v>1.1088861291167484E-2</c:v>
                </c:pt>
                <c:pt idx="719">
                  <c:v>1.1430070784544055E-2</c:v>
                </c:pt>
                <c:pt idx="720">
                  <c:v>1.3565218262454937E-2</c:v>
                </c:pt>
                <c:pt idx="721">
                  <c:v>8.8871156705981891E-3</c:v>
                </c:pt>
                <c:pt idx="722">
                  <c:v>1.1990471397276492E-2</c:v>
                </c:pt>
                <c:pt idx="723">
                  <c:v>1.0775309195526162E-2</c:v>
                </c:pt>
                <c:pt idx="724">
                  <c:v>1.3716390904030318E-2</c:v>
                </c:pt>
                <c:pt idx="725">
                  <c:v>6.8416085761956458E-3</c:v>
                </c:pt>
                <c:pt idx="726">
                  <c:v>-5.3224296517153658E-3</c:v>
                </c:pt>
                <c:pt idx="727">
                  <c:v>-1.5639707496695521E-2</c:v>
                </c:pt>
                <c:pt idx="728">
                  <c:v>-1.6470856788023069E-2</c:v>
                </c:pt>
                <c:pt idx="729">
                  <c:v>-2.808016869239327E-2</c:v>
                </c:pt>
                <c:pt idx="730">
                  <c:v>-4.5292296960070644E-2</c:v>
                </c:pt>
                <c:pt idx="731">
                  <c:v>-4.481707533271917E-2</c:v>
                </c:pt>
                <c:pt idx="732">
                  <c:v>-5.5589974438903456E-2</c:v>
                </c:pt>
                <c:pt idx="733">
                  <c:v>-5.6344560482596173E-2</c:v>
                </c:pt>
                <c:pt idx="734">
                  <c:v>-5.2716912432702601E-2</c:v>
                </c:pt>
                <c:pt idx="735">
                  <c:v>-5.8374825341940717E-2</c:v>
                </c:pt>
                <c:pt idx="736">
                  <c:v>-5.8418697442171541E-2</c:v>
                </c:pt>
                <c:pt idx="737">
                  <c:v>-5.4568715013770253E-2</c:v>
                </c:pt>
                <c:pt idx="738">
                  <c:v>-5.6362482633879663E-2</c:v>
                </c:pt>
                <c:pt idx="739">
                  <c:v>-3.5607450358028148E-2</c:v>
                </c:pt>
                <c:pt idx="740">
                  <c:v>-3.7144426449239876E-2</c:v>
                </c:pt>
                <c:pt idx="741">
                  <c:v>-3.8196935325373826E-2</c:v>
                </c:pt>
                <c:pt idx="742">
                  <c:v>-3.5962669704010075E-2</c:v>
                </c:pt>
                <c:pt idx="743">
                  <c:v>-3.83697629314671E-2</c:v>
                </c:pt>
                <c:pt idx="744">
                  <c:v>-5.185145591984075E-2</c:v>
                </c:pt>
                <c:pt idx="745">
                  <c:v>-3.835674090605401E-2</c:v>
                </c:pt>
                <c:pt idx="746">
                  <c:v>-4.2611279028396787E-2</c:v>
                </c:pt>
                <c:pt idx="747">
                  <c:v>-3.2940848655820698E-2</c:v>
                </c:pt>
                <c:pt idx="748">
                  <c:v>-3.5100149007916359E-2</c:v>
                </c:pt>
                <c:pt idx="749">
                  <c:v>-3.9997128148747008E-2</c:v>
                </c:pt>
                <c:pt idx="750">
                  <c:v>-4.606294559574664E-2</c:v>
                </c:pt>
                <c:pt idx="751">
                  <c:v>-4.7898709193502698E-2</c:v>
                </c:pt>
                <c:pt idx="752">
                  <c:v>-3.9901814010983805E-2</c:v>
                </c:pt>
                <c:pt idx="753">
                  <c:v>-4.2012606681590126E-2</c:v>
                </c:pt>
                <c:pt idx="754">
                  <c:v>-4.865819130580129E-2</c:v>
                </c:pt>
                <c:pt idx="755">
                  <c:v>-4.4918069288873985E-2</c:v>
                </c:pt>
                <c:pt idx="756">
                  <c:v>-3.4676505562910021E-2</c:v>
                </c:pt>
                <c:pt idx="757">
                  <c:v>-2.8048729535622652E-2</c:v>
                </c:pt>
                <c:pt idx="758">
                  <c:v>-2.347341568805883E-2</c:v>
                </c:pt>
                <c:pt idx="759">
                  <c:v>-2.4277250979746978E-2</c:v>
                </c:pt>
                <c:pt idx="760">
                  <c:v>-1.5796591247029479E-2</c:v>
                </c:pt>
                <c:pt idx="761">
                  <c:v>-1.5917499312071759E-2</c:v>
                </c:pt>
                <c:pt idx="762">
                  <c:v>-1.1955606473524227E-2</c:v>
                </c:pt>
                <c:pt idx="763">
                  <c:v>-1.0289623898563582E-2</c:v>
                </c:pt>
                <c:pt idx="764">
                  <c:v>-2.1352659128313967E-2</c:v>
                </c:pt>
                <c:pt idx="765">
                  <c:v>-2.026128213224121E-2</c:v>
                </c:pt>
                <c:pt idx="766">
                  <c:v>-2.0109915468622508E-2</c:v>
                </c:pt>
                <c:pt idx="767">
                  <c:v>-2.609377861363682E-2</c:v>
                </c:pt>
                <c:pt idx="768">
                  <c:v>-2.082461417212933E-2</c:v>
                </c:pt>
                <c:pt idx="769">
                  <c:v>-2.6061898886708734E-2</c:v>
                </c:pt>
                <c:pt idx="770">
                  <c:v>-2.4311678859339048E-2</c:v>
                </c:pt>
                <c:pt idx="771">
                  <c:v>-2.2393486142753605E-2</c:v>
                </c:pt>
                <c:pt idx="772">
                  <c:v>-3.0677035326524327E-2</c:v>
                </c:pt>
                <c:pt idx="773">
                  <c:v>-2.4231797179805281E-2</c:v>
                </c:pt>
                <c:pt idx="774">
                  <c:v>-1.0005731187175404E-2</c:v>
                </c:pt>
                <c:pt idx="775">
                  <c:v>-2.7173745925572756E-3</c:v>
                </c:pt>
                <c:pt idx="776">
                  <c:v>-6.9373407730416448E-3</c:v>
                </c:pt>
                <c:pt idx="777">
                  <c:v>-2.7795694096814594E-2</c:v>
                </c:pt>
                <c:pt idx="778">
                  <c:v>-2.4382535241458059E-2</c:v>
                </c:pt>
                <c:pt idx="779">
                  <c:v>-2.1295393144085684E-2</c:v>
                </c:pt>
                <c:pt idx="780">
                  <c:v>-2.5546844384998435E-2</c:v>
                </c:pt>
                <c:pt idx="781">
                  <c:v>-2.1134235258364553E-2</c:v>
                </c:pt>
                <c:pt idx="782">
                  <c:v>-1.5855586831645341E-2</c:v>
                </c:pt>
                <c:pt idx="783">
                  <c:v>-2.2064640861885199E-2</c:v>
                </c:pt>
                <c:pt idx="784">
                  <c:v>-1.7000826172935635E-2</c:v>
                </c:pt>
                <c:pt idx="785">
                  <c:v>-2.1654080568198286E-2</c:v>
                </c:pt>
                <c:pt idx="786">
                  <c:v>-2.644250901615397E-2</c:v>
                </c:pt>
                <c:pt idx="787">
                  <c:v>-2.9843221511424045E-2</c:v>
                </c:pt>
                <c:pt idx="788">
                  <c:v>-2.0358304797750471E-2</c:v>
                </c:pt>
                <c:pt idx="789">
                  <c:v>-1.7634045624413397E-2</c:v>
                </c:pt>
                <c:pt idx="790">
                  <c:v>-1.9296052705108369E-2</c:v>
                </c:pt>
                <c:pt idx="791">
                  <c:v>-1.4310615210149313E-2</c:v>
                </c:pt>
                <c:pt idx="792">
                  <c:v>-1.158385216010005E-2</c:v>
                </c:pt>
                <c:pt idx="793">
                  <c:v>-1.4740154905938274E-2</c:v>
                </c:pt>
                <c:pt idx="794">
                  <c:v>-8.4042435269461313E-3</c:v>
                </c:pt>
                <c:pt idx="795">
                  <c:v>-6.8435145294568622E-3</c:v>
                </c:pt>
                <c:pt idx="796">
                  <c:v>-7.4914502919332104E-3</c:v>
                </c:pt>
                <c:pt idx="797">
                  <c:v>1.8028278091573036E-3</c:v>
                </c:pt>
                <c:pt idx="798">
                  <c:v>6.2611746229267462E-3</c:v>
                </c:pt>
                <c:pt idx="799">
                  <c:v>5.6337323959246843E-3</c:v>
                </c:pt>
                <c:pt idx="800">
                  <c:v>5.0190388441805345E-3</c:v>
                </c:pt>
                <c:pt idx="801">
                  <c:v>1.1524606842220342E-3</c:v>
                </c:pt>
                <c:pt idx="802">
                  <c:v>8.722968119765695E-3</c:v>
                </c:pt>
                <c:pt idx="803">
                  <c:v>3.5566318948800912E-3</c:v>
                </c:pt>
                <c:pt idx="804">
                  <c:v>4.4042958445401625E-3</c:v>
                </c:pt>
                <c:pt idx="805">
                  <c:v>3.536474533805678E-3</c:v>
                </c:pt>
                <c:pt idx="806">
                  <c:v>9.3025087032809761E-3</c:v>
                </c:pt>
                <c:pt idx="807">
                  <c:v>2.3005652625905593E-2</c:v>
                </c:pt>
                <c:pt idx="808">
                  <c:v>2.0846783115207823E-2</c:v>
                </c:pt>
                <c:pt idx="809">
                  <c:v>1.1433066758719468E-2</c:v>
                </c:pt>
                <c:pt idx="810">
                  <c:v>1.7649523282773916E-2</c:v>
                </c:pt>
                <c:pt idx="811">
                  <c:v>1.7609472466365461E-2</c:v>
                </c:pt>
                <c:pt idx="812">
                  <c:v>7.5016981442899144E-3</c:v>
                </c:pt>
                <c:pt idx="813">
                  <c:v>1.600547988468437E-2</c:v>
                </c:pt>
                <c:pt idx="814">
                  <c:v>7.7383054415504082E-3</c:v>
                </c:pt>
                <c:pt idx="815">
                  <c:v>4.1803604229340152E-5</c:v>
                </c:pt>
                <c:pt idx="816">
                  <c:v>7.0575305253929299E-3</c:v>
                </c:pt>
                <c:pt idx="817">
                  <c:v>9.1754792999888535E-3</c:v>
                </c:pt>
                <c:pt idx="818">
                  <c:v>-2.0499503408414332E-3</c:v>
                </c:pt>
                <c:pt idx="819">
                  <c:v>-1.7249480976100351E-3</c:v>
                </c:pt>
                <c:pt idx="820">
                  <c:v>-5.711789693904068E-4</c:v>
                </c:pt>
                <c:pt idx="821">
                  <c:v>1.8717430987803541E-3</c:v>
                </c:pt>
                <c:pt idx="822">
                  <c:v>3.5263605960188515E-3</c:v>
                </c:pt>
                <c:pt idx="823">
                  <c:v>4.9807123876522974E-3</c:v>
                </c:pt>
                <c:pt idx="824">
                  <c:v>1.3394738552541918E-2</c:v>
                </c:pt>
                <c:pt idx="825">
                  <c:v>1.1519027054195941E-2</c:v>
                </c:pt>
                <c:pt idx="826">
                  <c:v>2.2659280138225268E-3</c:v>
                </c:pt>
                <c:pt idx="827">
                  <c:v>6.4411097830283648E-3</c:v>
                </c:pt>
                <c:pt idx="828">
                  <c:v>-3.575301932913888E-3</c:v>
                </c:pt>
                <c:pt idx="829">
                  <c:v>-4.6096699038689071E-3</c:v>
                </c:pt>
                <c:pt idx="830">
                  <c:v>-7.0701935559165374E-3</c:v>
                </c:pt>
                <c:pt idx="831">
                  <c:v>-5.3845488435628752E-3</c:v>
                </c:pt>
                <c:pt idx="832">
                  <c:v>-1.0511745674818718E-2</c:v>
                </c:pt>
                <c:pt idx="833">
                  <c:v>-7.0825938665436405E-3</c:v>
                </c:pt>
                <c:pt idx="834">
                  <c:v>-1.5202632567413499E-2</c:v>
                </c:pt>
                <c:pt idx="835">
                  <c:v>-1.6989067601455687E-2</c:v>
                </c:pt>
                <c:pt idx="836">
                  <c:v>-1.5631387068841152E-2</c:v>
                </c:pt>
                <c:pt idx="837">
                  <c:v>-1.7081863767372973E-2</c:v>
                </c:pt>
                <c:pt idx="838">
                  <c:v>-1.6731840583146806E-2</c:v>
                </c:pt>
                <c:pt idx="839">
                  <c:v>-7.5032106879444616E-3</c:v>
                </c:pt>
                <c:pt idx="840">
                  <c:v>-1.0069388270611657E-2</c:v>
                </c:pt>
                <c:pt idx="841">
                  <c:v>-9.8589866511753499E-3</c:v>
                </c:pt>
                <c:pt idx="842">
                  <c:v>-4.8478694661563404E-3</c:v>
                </c:pt>
                <c:pt idx="843">
                  <c:v>-5.1008307512302453E-3</c:v>
                </c:pt>
                <c:pt idx="844">
                  <c:v>-9.1289609635158975E-4</c:v>
                </c:pt>
                <c:pt idx="845">
                  <c:v>6.7832696532196257E-3</c:v>
                </c:pt>
                <c:pt idx="846">
                  <c:v>1.1356707616126394E-2</c:v>
                </c:pt>
                <c:pt idx="847">
                  <c:v>1.0404996650061782E-2</c:v>
                </c:pt>
                <c:pt idx="848">
                  <c:v>8.2154071818888452E-3</c:v>
                </c:pt>
                <c:pt idx="849">
                  <c:v>1.1929759180117183E-2</c:v>
                </c:pt>
                <c:pt idx="850">
                  <c:v>-9.1517924393658134E-5</c:v>
                </c:pt>
                <c:pt idx="851">
                  <c:v>-3.245166294353119E-3</c:v>
                </c:pt>
                <c:pt idx="852">
                  <c:v>-8.3653790206268397E-3</c:v>
                </c:pt>
                <c:pt idx="853">
                  <c:v>-9.3861401657340249E-3</c:v>
                </c:pt>
                <c:pt idx="854">
                  <c:v>-1.6858471118493368E-2</c:v>
                </c:pt>
                <c:pt idx="855">
                  <c:v>-1.415060220410691E-2</c:v>
                </c:pt>
                <c:pt idx="856">
                  <c:v>-6.1764969848159268E-3</c:v>
                </c:pt>
                <c:pt idx="857">
                  <c:v>-5.8181318858555597E-3</c:v>
                </c:pt>
                <c:pt idx="858">
                  <c:v>-5.4958248866296966E-3</c:v>
                </c:pt>
                <c:pt idx="859">
                  <c:v>-1.0040445749518456E-3</c:v>
                </c:pt>
                <c:pt idx="860">
                  <c:v>-2.7692222656783283E-4</c:v>
                </c:pt>
                <c:pt idx="861">
                  <c:v>-9.8788153760244191E-3</c:v>
                </c:pt>
                <c:pt idx="862">
                  <c:v>-6.6751908087145928E-3</c:v>
                </c:pt>
                <c:pt idx="863">
                  <c:v>-1.6893281730899212E-2</c:v>
                </c:pt>
                <c:pt idx="864">
                  <c:v>-4.7976681570489621E-3</c:v>
                </c:pt>
                <c:pt idx="865">
                  <c:v>-2.9878716143203476E-3</c:v>
                </c:pt>
                <c:pt idx="866">
                  <c:v>-6.5140370719414253E-3</c:v>
                </c:pt>
                <c:pt idx="867">
                  <c:v>-1.6402131675684384E-2</c:v>
                </c:pt>
                <c:pt idx="868">
                  <c:v>-1.3834315583710288E-2</c:v>
                </c:pt>
                <c:pt idx="869">
                  <c:v>-1.3057310387467269E-2</c:v>
                </c:pt>
                <c:pt idx="870">
                  <c:v>-8.8138207216661435E-3</c:v>
                </c:pt>
                <c:pt idx="871">
                  <c:v>-1.6741755305636707E-2</c:v>
                </c:pt>
                <c:pt idx="872">
                  <c:v>-9.5485139423574505E-3</c:v>
                </c:pt>
                <c:pt idx="873">
                  <c:v>-9.9008263918225481E-3</c:v>
                </c:pt>
                <c:pt idx="874">
                  <c:v>-5.2688080895577638E-3</c:v>
                </c:pt>
                <c:pt idx="875">
                  <c:v>-5.8684290408329565E-3</c:v>
                </c:pt>
                <c:pt idx="876">
                  <c:v>-7.0858269679111574E-3</c:v>
                </c:pt>
                <c:pt idx="877">
                  <c:v>-1.0324006849912082E-2</c:v>
                </c:pt>
                <c:pt idx="878">
                  <c:v>-4.0607899988298612E-3</c:v>
                </c:pt>
                <c:pt idx="879">
                  <c:v>-3.0091174778529295E-3</c:v>
                </c:pt>
                <c:pt idx="880">
                  <c:v>1.3586278271447982E-3</c:v>
                </c:pt>
                <c:pt idx="881">
                  <c:v>4.1304065351148722E-3</c:v>
                </c:pt>
                <c:pt idx="882">
                  <c:v>8.3219626818643588E-3</c:v>
                </c:pt>
                <c:pt idx="883">
                  <c:v>3.1505996910961009E-3</c:v>
                </c:pt>
                <c:pt idx="884">
                  <c:v>3.101998792767402E-3</c:v>
                </c:pt>
                <c:pt idx="885">
                  <c:v>5.3503503118137452E-3</c:v>
                </c:pt>
                <c:pt idx="886">
                  <c:v>1.3165325241431325E-2</c:v>
                </c:pt>
                <c:pt idx="887">
                  <c:v>1.2814756254624138E-2</c:v>
                </c:pt>
                <c:pt idx="888">
                  <c:v>2.0784286495070359E-2</c:v>
                </c:pt>
                <c:pt idx="889">
                  <c:v>1.6578397378597454E-2</c:v>
                </c:pt>
                <c:pt idx="890">
                  <c:v>2.5227836850293506E-2</c:v>
                </c:pt>
                <c:pt idx="891">
                  <c:v>4.2531423132725843E-2</c:v>
                </c:pt>
                <c:pt idx="892">
                  <c:v>4.1186612153299218E-2</c:v>
                </c:pt>
                <c:pt idx="893">
                  <c:v>3.9939860906353375E-2</c:v>
                </c:pt>
                <c:pt idx="894">
                  <c:v>3.6629374815431159E-2</c:v>
                </c:pt>
                <c:pt idx="895">
                  <c:v>3.8813664816370719E-2</c:v>
                </c:pt>
                <c:pt idx="896">
                  <c:v>3.9716145679360659E-2</c:v>
                </c:pt>
                <c:pt idx="897">
                  <c:v>4.4023762033535419E-2</c:v>
                </c:pt>
                <c:pt idx="898">
                  <c:v>3.8820510951075637E-2</c:v>
                </c:pt>
                <c:pt idx="899">
                  <c:v>3.6580675782365679E-2</c:v>
                </c:pt>
                <c:pt idx="900">
                  <c:v>3.8552832522328884E-2</c:v>
                </c:pt>
                <c:pt idx="901">
                  <c:v>3.8927676126438104E-2</c:v>
                </c:pt>
                <c:pt idx="902">
                  <c:v>3.2572845327394795E-2</c:v>
                </c:pt>
                <c:pt idx="903">
                  <c:v>1.7638074329286546E-2</c:v>
                </c:pt>
                <c:pt idx="904">
                  <c:v>3.9629921190367234E-3</c:v>
                </c:pt>
                <c:pt idx="905">
                  <c:v>1.2277038355039571E-2</c:v>
                </c:pt>
                <c:pt idx="906">
                  <c:v>9.946128139842858E-3</c:v>
                </c:pt>
                <c:pt idx="907">
                  <c:v>1.4638971309755444E-2</c:v>
                </c:pt>
                <c:pt idx="908">
                  <c:v>3.451362211134068E-3</c:v>
                </c:pt>
                <c:pt idx="909">
                  <c:v>5.8666575534676024E-3</c:v>
                </c:pt>
                <c:pt idx="910">
                  <c:v>1.1021069887241719E-2</c:v>
                </c:pt>
                <c:pt idx="911">
                  <c:v>1.4672173282859413E-2</c:v>
                </c:pt>
                <c:pt idx="912">
                  <c:v>1.5748898647473419E-2</c:v>
                </c:pt>
                <c:pt idx="913">
                  <c:v>2.0602061290505125E-2</c:v>
                </c:pt>
                <c:pt idx="914">
                  <c:v>2.0247486909755419E-2</c:v>
                </c:pt>
                <c:pt idx="915">
                  <c:v>1.5757968122385502E-2</c:v>
                </c:pt>
                <c:pt idx="916">
                  <c:v>1.5157944345075447E-2</c:v>
                </c:pt>
                <c:pt idx="917">
                  <c:v>1.4402330029639199E-2</c:v>
                </c:pt>
                <c:pt idx="918">
                  <c:v>1.9813364515160692E-2</c:v>
                </c:pt>
                <c:pt idx="919">
                  <c:v>2.02996767904291E-2</c:v>
                </c:pt>
                <c:pt idx="920">
                  <c:v>1.311827824815015E-2</c:v>
                </c:pt>
                <c:pt idx="921">
                  <c:v>2.9694854927266867E-3</c:v>
                </c:pt>
                <c:pt idx="922">
                  <c:v>3.4681343021071287E-3</c:v>
                </c:pt>
                <c:pt idx="923">
                  <c:v>1.1616400191163612E-2</c:v>
                </c:pt>
                <c:pt idx="924">
                  <c:v>1.4266710461638854E-2</c:v>
                </c:pt>
                <c:pt idx="925">
                  <c:v>1.2474887897486187E-2</c:v>
                </c:pt>
                <c:pt idx="926">
                  <c:v>5.2941509630592964E-3</c:v>
                </c:pt>
                <c:pt idx="927">
                  <c:v>4.5493375481636678E-3</c:v>
                </c:pt>
                <c:pt idx="928">
                  <c:v>1.0664359773820187E-2</c:v>
                </c:pt>
                <c:pt idx="929">
                  <c:v>8.4664275156047797E-3</c:v>
                </c:pt>
                <c:pt idx="930">
                  <c:v>-6.4946326666526222E-4</c:v>
                </c:pt>
                <c:pt idx="931">
                  <c:v>1.4829751821863191E-3</c:v>
                </c:pt>
                <c:pt idx="932">
                  <c:v>1.5552312191651874E-2</c:v>
                </c:pt>
                <c:pt idx="933">
                  <c:v>2.3200247348047598E-2</c:v>
                </c:pt>
                <c:pt idx="934">
                  <c:v>3.571658845781811E-2</c:v>
                </c:pt>
                <c:pt idx="935">
                  <c:v>2.7489366596156417E-2</c:v>
                </c:pt>
                <c:pt idx="936">
                  <c:v>3.1049308238360718E-2</c:v>
                </c:pt>
                <c:pt idx="937">
                  <c:v>2.9027573043275856E-2</c:v>
                </c:pt>
                <c:pt idx="938">
                  <c:v>3.7899563257679514E-2</c:v>
                </c:pt>
                <c:pt idx="939">
                  <c:v>3.6864393229403269E-2</c:v>
                </c:pt>
                <c:pt idx="940">
                  <c:v>4.4757327443643136E-2</c:v>
                </c:pt>
                <c:pt idx="941">
                  <c:v>3.9896131104927068E-2</c:v>
                </c:pt>
                <c:pt idx="942">
                  <c:v>3.4956104120599352E-2</c:v>
                </c:pt>
                <c:pt idx="943">
                  <c:v>2.5351852440596012E-2</c:v>
                </c:pt>
                <c:pt idx="944">
                  <c:v>1.6097964899118078E-2</c:v>
                </c:pt>
                <c:pt idx="945">
                  <c:v>1.0420698514224003E-2</c:v>
                </c:pt>
                <c:pt idx="946">
                  <c:v>7.1514652456106109E-3</c:v>
                </c:pt>
                <c:pt idx="947">
                  <c:v>1.3264265733731406E-2</c:v>
                </c:pt>
                <c:pt idx="948">
                  <c:v>3.5649465901769206E-3</c:v>
                </c:pt>
                <c:pt idx="949">
                  <c:v>7.9170977649705154E-3</c:v>
                </c:pt>
                <c:pt idx="950">
                  <c:v>1.2453675065214442E-2</c:v>
                </c:pt>
                <c:pt idx="951">
                  <c:v>1.2635350954549596E-2</c:v>
                </c:pt>
                <c:pt idx="952">
                  <c:v>1.5983433458669816E-2</c:v>
                </c:pt>
                <c:pt idx="953">
                  <c:v>1.3886618829101582E-2</c:v>
                </c:pt>
                <c:pt idx="954">
                  <c:v>9.4838558472094547E-3</c:v>
                </c:pt>
                <c:pt idx="955">
                  <c:v>-2.0010913931434171E-4</c:v>
                </c:pt>
                <c:pt idx="956">
                  <c:v>5.1212942734553124E-3</c:v>
                </c:pt>
                <c:pt idx="957">
                  <c:v>-2.007109903139126E-3</c:v>
                </c:pt>
                <c:pt idx="958">
                  <c:v>2.3422207764959291E-3</c:v>
                </c:pt>
                <c:pt idx="959">
                  <c:v>8.6255699544339759E-3</c:v>
                </c:pt>
                <c:pt idx="960">
                  <c:v>1.3316650029011723E-2</c:v>
                </c:pt>
                <c:pt idx="961">
                  <c:v>5.6610379004459199E-3</c:v>
                </c:pt>
                <c:pt idx="962">
                  <c:v>4.5492268505209488E-3</c:v>
                </c:pt>
                <c:pt idx="963">
                  <c:v>8.0574811118634404E-3</c:v>
                </c:pt>
                <c:pt idx="964">
                  <c:v>3.8384975277202527E-3</c:v>
                </c:pt>
                <c:pt idx="965">
                  <c:v>2.6087319403713671E-3</c:v>
                </c:pt>
                <c:pt idx="966">
                  <c:v>2.9820873464447839E-3</c:v>
                </c:pt>
                <c:pt idx="967">
                  <c:v>-9.4205056388241282E-4</c:v>
                </c:pt>
                <c:pt idx="968">
                  <c:v>-4.6344740419304031E-3</c:v>
                </c:pt>
                <c:pt idx="969">
                  <c:v>-5.9925081250413736E-3</c:v>
                </c:pt>
                <c:pt idx="970">
                  <c:v>-6.1895070344903935E-3</c:v>
                </c:pt>
                <c:pt idx="971">
                  <c:v>-1.3077135815980467E-2</c:v>
                </c:pt>
                <c:pt idx="972">
                  <c:v>-1.4138849169502143E-2</c:v>
                </c:pt>
                <c:pt idx="973">
                  <c:v>-1.5190500370055871E-2</c:v>
                </c:pt>
                <c:pt idx="974">
                  <c:v>-9.6055452473390313E-3</c:v>
                </c:pt>
                <c:pt idx="975">
                  <c:v>-8.516060760013433E-3</c:v>
                </c:pt>
                <c:pt idx="976">
                  <c:v>-1.057171179085048E-2</c:v>
                </c:pt>
                <c:pt idx="977">
                  <c:v>-1.7090363385002028E-2</c:v>
                </c:pt>
                <c:pt idx="978">
                  <c:v>-1.6542416370253887E-2</c:v>
                </c:pt>
                <c:pt idx="979">
                  <c:v>-2.264098242355983E-2</c:v>
                </c:pt>
                <c:pt idx="980">
                  <c:v>-1.6494862582850045E-2</c:v>
                </c:pt>
                <c:pt idx="981">
                  <c:v>-1.7534735111504607E-2</c:v>
                </c:pt>
                <c:pt idx="982">
                  <c:v>-1.8258295545077741E-2</c:v>
                </c:pt>
                <c:pt idx="983">
                  <c:v>-1.1735167521755074E-2</c:v>
                </c:pt>
                <c:pt idx="984">
                  <c:v>-4.4266252678026863E-3</c:v>
                </c:pt>
                <c:pt idx="985">
                  <c:v>8.1466008941535328E-3</c:v>
                </c:pt>
                <c:pt idx="986">
                  <c:v>1.2701681093633232E-2</c:v>
                </c:pt>
                <c:pt idx="987">
                  <c:v>1.3596692709165414E-2</c:v>
                </c:pt>
                <c:pt idx="988">
                  <c:v>1.4412937140356075E-2</c:v>
                </c:pt>
                <c:pt idx="989">
                  <c:v>1.3724391243584932E-2</c:v>
                </c:pt>
                <c:pt idx="990">
                  <c:v>1.7326909368442833E-2</c:v>
                </c:pt>
                <c:pt idx="991">
                  <c:v>2.2934607663502304E-2</c:v>
                </c:pt>
                <c:pt idx="992">
                  <c:v>2.3155576818668533E-2</c:v>
                </c:pt>
                <c:pt idx="993">
                  <c:v>2.3974912813132465E-2</c:v>
                </c:pt>
                <c:pt idx="994">
                  <c:v>2.4615493118872456E-2</c:v>
                </c:pt>
                <c:pt idx="995">
                  <c:v>2.7362290512130349E-2</c:v>
                </c:pt>
                <c:pt idx="996">
                  <c:v>3.049738640007349E-2</c:v>
                </c:pt>
                <c:pt idx="997">
                  <c:v>2.8158995298478873E-2</c:v>
                </c:pt>
                <c:pt idx="998">
                  <c:v>3.8428910883152145E-2</c:v>
                </c:pt>
                <c:pt idx="999">
                  <c:v>3.771889906089021E-2</c:v>
                </c:pt>
                <c:pt idx="1000">
                  <c:v>3.1551542407276756E-2</c:v>
                </c:pt>
                <c:pt idx="1001">
                  <c:v>4.264180744610313E-2</c:v>
                </c:pt>
                <c:pt idx="1002">
                  <c:v>3.584792955371896E-2</c:v>
                </c:pt>
                <c:pt idx="1003">
                  <c:v>3.4891822563317132E-2</c:v>
                </c:pt>
                <c:pt idx="1004">
                  <c:v>2.758412807234778E-2</c:v>
                </c:pt>
                <c:pt idx="1005">
                  <c:v>3.2771777844476824E-2</c:v>
                </c:pt>
                <c:pt idx="1006">
                  <c:v>3.1146833192116974E-2</c:v>
                </c:pt>
                <c:pt idx="1007">
                  <c:v>3.6412639739144326E-2</c:v>
                </c:pt>
                <c:pt idx="1008">
                  <c:v>4.2273175933523977E-2</c:v>
                </c:pt>
                <c:pt idx="1009">
                  <c:v>4.3823546801486368E-2</c:v>
                </c:pt>
                <c:pt idx="1010">
                  <c:v>3.6794235751330895E-2</c:v>
                </c:pt>
                <c:pt idx="1011">
                  <c:v>4.0469087463601894E-2</c:v>
                </c:pt>
                <c:pt idx="1012">
                  <c:v>4.0705646440464704E-2</c:v>
                </c:pt>
                <c:pt idx="1013">
                  <c:v>3.2628748703716459E-2</c:v>
                </c:pt>
                <c:pt idx="1014">
                  <c:v>3.1655452616040747E-2</c:v>
                </c:pt>
                <c:pt idx="1015">
                  <c:v>3.1130146153725002E-2</c:v>
                </c:pt>
                <c:pt idx="1016">
                  <c:v>2.9217962733975145E-2</c:v>
                </c:pt>
                <c:pt idx="1017">
                  <c:v>3.7632334636361731E-2</c:v>
                </c:pt>
                <c:pt idx="1018">
                  <c:v>2.5901351717944499E-2</c:v>
                </c:pt>
                <c:pt idx="1019">
                  <c:v>2.2616910721969363E-2</c:v>
                </c:pt>
                <c:pt idx="1020">
                  <c:v>1.8905462783001092E-2</c:v>
                </c:pt>
                <c:pt idx="1021">
                  <c:v>1.9404451226690433E-2</c:v>
                </c:pt>
                <c:pt idx="1022">
                  <c:v>2.2330918523495669E-2</c:v>
                </c:pt>
                <c:pt idx="1023">
                  <c:v>1.169365544686185E-2</c:v>
                </c:pt>
                <c:pt idx="1024">
                  <c:v>1.4318144319770854E-2</c:v>
                </c:pt>
                <c:pt idx="1025">
                  <c:v>1.7454434829384025E-2</c:v>
                </c:pt>
                <c:pt idx="1026">
                  <c:v>1.6059588361631238E-2</c:v>
                </c:pt>
                <c:pt idx="1027">
                  <c:v>7.3270831528011726E-3</c:v>
                </c:pt>
                <c:pt idx="1028">
                  <c:v>5.3623038949156543E-3</c:v>
                </c:pt>
                <c:pt idx="1029">
                  <c:v>3.4617605028101073E-3</c:v>
                </c:pt>
                <c:pt idx="1030">
                  <c:v>5.3984575081944541E-3</c:v>
                </c:pt>
                <c:pt idx="1031">
                  <c:v>6.2293236843707911E-3</c:v>
                </c:pt>
                <c:pt idx="1032">
                  <c:v>1.6462581341240012E-2</c:v>
                </c:pt>
                <c:pt idx="1033">
                  <c:v>1.3521012422138545E-2</c:v>
                </c:pt>
                <c:pt idx="1034">
                  <c:v>2.2003103692832982E-2</c:v>
                </c:pt>
                <c:pt idx="1035">
                  <c:v>2.2807324985783639E-2</c:v>
                </c:pt>
                <c:pt idx="1036">
                  <c:v>2.2703420343338832E-2</c:v>
                </c:pt>
                <c:pt idx="1037">
                  <c:v>1.6144652841212914E-2</c:v>
                </c:pt>
                <c:pt idx="1038">
                  <c:v>7.4870514585213543E-3</c:v>
                </c:pt>
                <c:pt idx="1039">
                  <c:v>8.1036025031352432E-3</c:v>
                </c:pt>
                <c:pt idx="1040">
                  <c:v>6.3550770873113116E-3</c:v>
                </c:pt>
                <c:pt idx="1041">
                  <c:v>6.8888300087704968E-3</c:v>
                </c:pt>
                <c:pt idx="1042">
                  <c:v>5.3587152742490263E-3</c:v>
                </c:pt>
                <c:pt idx="1043">
                  <c:v>-3.3035310689755182E-3</c:v>
                </c:pt>
                <c:pt idx="1044">
                  <c:v>2.3033871130891281E-2</c:v>
                </c:pt>
                <c:pt idx="1045">
                  <c:v>-4.1581745921395519E-2</c:v>
                </c:pt>
                <c:pt idx="1046">
                  <c:v>-3.633691116556137E-2</c:v>
                </c:pt>
                <c:pt idx="1047">
                  <c:v>-2.3600018054658056E-3</c:v>
                </c:pt>
                <c:pt idx="1048">
                  <c:v>-3.2898455358551404E-2</c:v>
                </c:pt>
                <c:pt idx="1049">
                  <c:v>-4.5180583403168884E-2</c:v>
                </c:pt>
                <c:pt idx="1050">
                  <c:v>-8.3853114024976749E-2</c:v>
                </c:pt>
                <c:pt idx="1051">
                  <c:v>-9.5451933337322936E-2</c:v>
                </c:pt>
                <c:pt idx="1052">
                  <c:v>-8.2472740509520692E-2</c:v>
                </c:pt>
                <c:pt idx="1053">
                  <c:v>-3.8947992204783954E-2</c:v>
                </c:pt>
                <c:pt idx="1054">
                  <c:v>-7.7159360694519119E-2</c:v>
                </c:pt>
                <c:pt idx="1055">
                  <c:v>-8.778470548715045E-2</c:v>
                </c:pt>
                <c:pt idx="1056">
                  <c:v>-5.7767112549313548E-2</c:v>
                </c:pt>
                <c:pt idx="1057">
                  <c:v>-5.4807945234711775E-2</c:v>
                </c:pt>
                <c:pt idx="1058">
                  <c:v>-5.9827750142548153E-2</c:v>
                </c:pt>
                <c:pt idx="1059">
                  <c:v>-6.8646605314759412E-2</c:v>
                </c:pt>
                <c:pt idx="1060">
                  <c:v>-5.1716043052494109E-2</c:v>
                </c:pt>
                <c:pt idx="1061">
                  <c:v>-5.149080351264268E-3</c:v>
                </c:pt>
                <c:pt idx="1062">
                  <c:v>-2.3147357569764937E-3</c:v>
                </c:pt>
                <c:pt idx="1063">
                  <c:v>1.1111128344177046E-2</c:v>
                </c:pt>
                <c:pt idx="1064">
                  <c:v>-9.0071397827975463E-3</c:v>
                </c:pt>
                <c:pt idx="1065">
                  <c:v>-1.2434021465660972E-2</c:v>
                </c:pt>
                <c:pt idx="1066">
                  <c:v>-2.0091331644965793E-3</c:v>
                </c:pt>
                <c:pt idx="1067">
                  <c:v>1.0701670085919712E-3</c:v>
                </c:pt>
                <c:pt idx="1068">
                  <c:v>7.7983909516921024E-3</c:v>
                </c:pt>
                <c:pt idx="1069">
                  <c:v>-1.0238051424453443E-2</c:v>
                </c:pt>
                <c:pt idx="1070">
                  <c:v>-3.4044071038620172E-2</c:v>
                </c:pt>
                <c:pt idx="1071">
                  <c:v>-5.8611899484758534E-2</c:v>
                </c:pt>
                <c:pt idx="1072">
                  <c:v>-5.2917333225032115E-2</c:v>
                </c:pt>
                <c:pt idx="1073">
                  <c:v>-4.5751152342026979E-2</c:v>
                </c:pt>
                <c:pt idx="1074">
                  <c:v>-3.439108440110028E-2</c:v>
                </c:pt>
                <c:pt idx="1075">
                  <c:v>-1.7182590853255686E-2</c:v>
                </c:pt>
                <c:pt idx="1076">
                  <c:v>-1.0432833392191365E-2</c:v>
                </c:pt>
                <c:pt idx="1077">
                  <c:v>-3.642782642849085E-2</c:v>
                </c:pt>
                <c:pt idx="1078">
                  <c:v>-5.5895163770728451E-2</c:v>
                </c:pt>
                <c:pt idx="1079">
                  <c:v>-3.0177865115807778E-2</c:v>
                </c:pt>
                <c:pt idx="1080">
                  <c:v>-7.1862062807157567E-3</c:v>
                </c:pt>
                <c:pt idx="1081">
                  <c:v>-4.5673503589344522E-2</c:v>
                </c:pt>
                <c:pt idx="1082">
                  <c:v>-4.3234023378288522E-2</c:v>
                </c:pt>
                <c:pt idx="1083">
                  <c:v>-4.2570366523343117E-2</c:v>
                </c:pt>
                <c:pt idx="1084">
                  <c:v>-0.10493779508990508</c:v>
                </c:pt>
                <c:pt idx="1085">
                  <c:v>-3.6315831004560151E-2</c:v>
                </c:pt>
                <c:pt idx="1086">
                  <c:v>-2.123748725600294E-2</c:v>
                </c:pt>
                <c:pt idx="1087">
                  <c:v>-3.2660475395044242E-2</c:v>
                </c:pt>
                <c:pt idx="1088">
                  <c:v>-3.3215549329769334E-2</c:v>
                </c:pt>
                <c:pt idx="1089">
                  <c:v>-1.5304437007135574E-2</c:v>
                </c:pt>
                <c:pt idx="1090">
                  <c:v>1.6865477331026724E-2</c:v>
                </c:pt>
                <c:pt idx="1091">
                  <c:v>8.1957266159351505E-3</c:v>
                </c:pt>
                <c:pt idx="1092">
                  <c:v>2.2550431344120159E-2</c:v>
                </c:pt>
                <c:pt idx="1093">
                  <c:v>6.5938740664957196E-2</c:v>
                </c:pt>
                <c:pt idx="1094">
                  <c:v>0.1067092302497924</c:v>
                </c:pt>
                <c:pt idx="1095">
                  <c:v>0.12533084738078581</c:v>
                </c:pt>
                <c:pt idx="1096">
                  <c:v>0.14454956202227465</c:v>
                </c:pt>
                <c:pt idx="1097">
                  <c:v>0.14272900947088685</c:v>
                </c:pt>
                <c:pt idx="1098">
                  <c:v>0.17930886687635772</c:v>
                </c:pt>
                <c:pt idx="1099">
                  <c:v>0.14658213823543509</c:v>
                </c:pt>
                <c:pt idx="1100">
                  <c:v>0.16350340426985566</c:v>
                </c:pt>
                <c:pt idx="1101">
                  <c:v>0.15932729879432239</c:v>
                </c:pt>
                <c:pt idx="1102">
                  <c:v>0.15434090250809729</c:v>
                </c:pt>
                <c:pt idx="1103">
                  <c:v>0.16048090750814514</c:v>
                </c:pt>
                <c:pt idx="1104">
                  <c:v>9.382392469468559E-2</c:v>
                </c:pt>
                <c:pt idx="1105">
                  <c:v>9.6741183678148879E-2</c:v>
                </c:pt>
                <c:pt idx="1106">
                  <c:v>7.3059500506023833E-2</c:v>
                </c:pt>
                <c:pt idx="1107">
                  <c:v>5.7644145735151309E-2</c:v>
                </c:pt>
                <c:pt idx="1108">
                  <c:v>3.1637691455034478E-2</c:v>
                </c:pt>
                <c:pt idx="1109">
                  <c:v>-5.6411202135459582E-2</c:v>
                </c:pt>
                <c:pt idx="1110">
                  <c:v>-6.1588571045144702E-2</c:v>
                </c:pt>
                <c:pt idx="1111">
                  <c:v>-7.0312812219764931E-3</c:v>
                </c:pt>
                <c:pt idx="1112">
                  <c:v>-3.4458377575774524E-3</c:v>
                </c:pt>
                <c:pt idx="1113">
                  <c:v>-1.2665839011165803E-2</c:v>
                </c:pt>
                <c:pt idx="1114">
                  <c:v>-1.6521862718545721E-2</c:v>
                </c:pt>
                <c:pt idx="1115">
                  <c:v>-2.2614120106505764E-2</c:v>
                </c:pt>
                <c:pt idx="1116">
                  <c:v>-2.2513956414338065E-2</c:v>
                </c:pt>
                <c:pt idx="1117">
                  <c:v>-1.7011706345790745E-2</c:v>
                </c:pt>
                <c:pt idx="1118">
                  <c:v>-4.1020855302531523E-3</c:v>
                </c:pt>
                <c:pt idx="1119">
                  <c:v>-9.5170882917688937E-3</c:v>
                </c:pt>
                <c:pt idx="1120">
                  <c:v>2.8843484320365542E-3</c:v>
                </c:pt>
                <c:pt idx="1121">
                  <c:v>1.1338712118513894E-2</c:v>
                </c:pt>
                <c:pt idx="1122">
                  <c:v>1.366088033376367E-2</c:v>
                </c:pt>
                <c:pt idx="1123">
                  <c:v>1.0695979989096549E-2</c:v>
                </c:pt>
                <c:pt idx="1124">
                  <c:v>8.0161513985984589E-3</c:v>
                </c:pt>
                <c:pt idx="1125">
                  <c:v>2.0224355422577389E-2</c:v>
                </c:pt>
                <c:pt idx="1126">
                  <c:v>2.0163794768382481E-2</c:v>
                </c:pt>
                <c:pt idx="1127">
                  <c:v>2.3583033915214657E-2</c:v>
                </c:pt>
                <c:pt idx="1128">
                  <c:v>1.8139125601146278E-2</c:v>
                </c:pt>
                <c:pt idx="1129">
                  <c:v>1.1213642929645773E-2</c:v>
                </c:pt>
                <c:pt idx="1130">
                  <c:v>2.3644171192221952E-2</c:v>
                </c:pt>
                <c:pt idx="1131">
                  <c:v>2.8045081945015204E-2</c:v>
                </c:pt>
                <c:pt idx="1132">
                  <c:v>2.5240303063650882E-2</c:v>
                </c:pt>
                <c:pt idx="1133">
                  <c:v>2.4965672887356849E-2</c:v>
                </c:pt>
                <c:pt idx="1134">
                  <c:v>2.9235052833535669E-2</c:v>
                </c:pt>
                <c:pt idx="1135">
                  <c:v>3.3601841689746004E-2</c:v>
                </c:pt>
                <c:pt idx="1136">
                  <c:v>2.2907455299779E-2</c:v>
                </c:pt>
                <c:pt idx="1137">
                  <c:v>1.8920800531317283E-2</c:v>
                </c:pt>
                <c:pt idx="1138">
                  <c:v>1.4356258768142727E-2</c:v>
                </c:pt>
                <c:pt idx="1139">
                  <c:v>1.2873125476636105E-2</c:v>
                </c:pt>
                <c:pt idx="1140">
                  <c:v>1.3520865265450266E-2</c:v>
                </c:pt>
                <c:pt idx="1141">
                  <c:v>9.6973471347331364E-3</c:v>
                </c:pt>
                <c:pt idx="1142">
                  <c:v>5.7655712848143637E-3</c:v>
                </c:pt>
                <c:pt idx="1143">
                  <c:v>4.6010561781967274E-3</c:v>
                </c:pt>
                <c:pt idx="1144">
                  <c:v>1.1157834372770625E-2</c:v>
                </c:pt>
                <c:pt idx="1145">
                  <c:v>1.4150429821960242E-2</c:v>
                </c:pt>
                <c:pt idx="1146">
                  <c:v>2.2203020356034164E-3</c:v>
                </c:pt>
                <c:pt idx="1147">
                  <c:v>4.2361066450172791E-3</c:v>
                </c:pt>
                <c:pt idx="1148">
                  <c:v>8.2788546555989662E-3</c:v>
                </c:pt>
                <c:pt idx="1149">
                  <c:v>1.1952179629341697E-2</c:v>
                </c:pt>
                <c:pt idx="1150">
                  <c:v>8.9828498047646033E-3</c:v>
                </c:pt>
                <c:pt idx="1151">
                  <c:v>-1.2247080586718084E-3</c:v>
                </c:pt>
                <c:pt idx="1152">
                  <c:v>1.0455952798282819E-4</c:v>
                </c:pt>
                <c:pt idx="1153">
                  <c:v>1.2273875835387638E-2</c:v>
                </c:pt>
                <c:pt idx="1154">
                  <c:v>9.9825874862440322E-3</c:v>
                </c:pt>
                <c:pt idx="1155">
                  <c:v>1.3782840303567689E-2</c:v>
                </c:pt>
                <c:pt idx="1156">
                  <c:v>8.9931874182511695E-3</c:v>
                </c:pt>
                <c:pt idx="1157">
                  <c:v>1.6156815838953897E-2</c:v>
                </c:pt>
                <c:pt idx="1158">
                  <c:v>2.6773512747475636E-2</c:v>
                </c:pt>
                <c:pt idx="1159">
                  <c:v>4.0889149304589312E-2</c:v>
                </c:pt>
                <c:pt idx="1160">
                  <c:v>4.0196456445953155E-2</c:v>
                </c:pt>
                <c:pt idx="1161">
                  <c:v>4.0946980129450194E-2</c:v>
                </c:pt>
                <c:pt idx="1162">
                  <c:v>4.5532830162972493E-2</c:v>
                </c:pt>
                <c:pt idx="1163">
                  <c:v>3.6377000840559059E-2</c:v>
                </c:pt>
                <c:pt idx="1164">
                  <c:v>2.3779609662554102E-2</c:v>
                </c:pt>
                <c:pt idx="1165">
                  <c:v>2.6483779860501544E-2</c:v>
                </c:pt>
                <c:pt idx="1166">
                  <c:v>3.066229825405975E-2</c:v>
                </c:pt>
                <c:pt idx="1167">
                  <c:v>2.8476408839903433E-2</c:v>
                </c:pt>
                <c:pt idx="1168">
                  <c:v>3.4260333327597703E-2</c:v>
                </c:pt>
                <c:pt idx="1169">
                  <c:v>3.3076161510838586E-2</c:v>
                </c:pt>
                <c:pt idx="1170">
                  <c:v>2.4179948559602926E-2</c:v>
                </c:pt>
                <c:pt idx="1171">
                  <c:v>2.0567164291146023E-2</c:v>
                </c:pt>
                <c:pt idx="1172">
                  <c:v>2.6538199460352963E-2</c:v>
                </c:pt>
                <c:pt idx="1173">
                  <c:v>2.8552911759233801E-2</c:v>
                </c:pt>
                <c:pt idx="1174">
                  <c:v>2.2505339917081146E-2</c:v>
                </c:pt>
                <c:pt idx="1175">
                  <c:v>2.3458652007391168E-2</c:v>
                </c:pt>
                <c:pt idx="1176">
                  <c:v>3.4381425933576182E-2</c:v>
                </c:pt>
                <c:pt idx="1177">
                  <c:v>3.470328037841186E-2</c:v>
                </c:pt>
                <c:pt idx="1178">
                  <c:v>3.1172117128762666E-2</c:v>
                </c:pt>
                <c:pt idx="1179">
                  <c:v>2.2427611215002807E-2</c:v>
                </c:pt>
                <c:pt idx="1180">
                  <c:v>2.1088140736855943E-2</c:v>
                </c:pt>
                <c:pt idx="1181">
                  <c:v>1.8077709624345406E-2</c:v>
                </c:pt>
                <c:pt idx="1182">
                  <c:v>1.6811231424497031E-2</c:v>
                </c:pt>
                <c:pt idx="1183">
                  <c:v>1.4413998300793152E-2</c:v>
                </c:pt>
                <c:pt idx="1184">
                  <c:v>1.9358100178291648E-2</c:v>
                </c:pt>
                <c:pt idx="1185">
                  <c:v>1.8743295629717771E-2</c:v>
                </c:pt>
                <c:pt idx="1186">
                  <c:v>1.9909490408971164E-2</c:v>
                </c:pt>
                <c:pt idx="1187">
                  <c:v>1.4995638046158333E-2</c:v>
                </c:pt>
                <c:pt idx="1188">
                  <c:v>5.3857666587834307E-3</c:v>
                </c:pt>
                <c:pt idx="1189">
                  <c:v>7.8055784000418127E-3</c:v>
                </c:pt>
                <c:pt idx="1190">
                  <c:v>5.507327964730524E-3</c:v>
                </c:pt>
                <c:pt idx="1191">
                  <c:v>3.8800576631126127E-3</c:v>
                </c:pt>
                <c:pt idx="1192">
                  <c:v>2.6515617523718005E-3</c:v>
                </c:pt>
                <c:pt idx="1193">
                  <c:v>1.8105938946110678E-2</c:v>
                </c:pt>
                <c:pt idx="1194">
                  <c:v>2.6323962382374E-2</c:v>
                </c:pt>
                <c:pt idx="1195">
                  <c:v>2.1327958742548891E-2</c:v>
                </c:pt>
                <c:pt idx="1196">
                  <c:v>2.6704449053274626E-2</c:v>
                </c:pt>
                <c:pt idx="1197">
                  <c:v>2.9322822453835662E-2</c:v>
                </c:pt>
                <c:pt idx="1198">
                  <c:v>3.121476770121423E-2</c:v>
                </c:pt>
                <c:pt idx="1199">
                  <c:v>2.9215259999944343E-2</c:v>
                </c:pt>
                <c:pt idx="1200">
                  <c:v>3.3607023049728402E-2</c:v>
                </c:pt>
                <c:pt idx="1201">
                  <c:v>3.7585095252402168E-2</c:v>
                </c:pt>
                <c:pt idx="1202">
                  <c:v>3.7409389458716302E-2</c:v>
                </c:pt>
                <c:pt idx="1203">
                  <c:v>3.4938103653068264E-2</c:v>
                </c:pt>
                <c:pt idx="1204">
                  <c:v>3.0062649149290688E-2</c:v>
                </c:pt>
                <c:pt idx="1205">
                  <c:v>2.7301764690817687E-2</c:v>
                </c:pt>
                <c:pt idx="1206">
                  <c:v>2.7542636486690308E-2</c:v>
                </c:pt>
                <c:pt idx="1207">
                  <c:v>2.0029923913329806E-2</c:v>
                </c:pt>
                <c:pt idx="1208">
                  <c:v>2.2174555137517427E-2</c:v>
                </c:pt>
                <c:pt idx="1209">
                  <c:v>1.4823214313822497E-2</c:v>
                </c:pt>
                <c:pt idx="1210">
                  <c:v>1.8858803045055494E-2</c:v>
                </c:pt>
                <c:pt idx="1211">
                  <c:v>3.2072825642824654E-2</c:v>
                </c:pt>
                <c:pt idx="1212">
                  <c:v>4.0160690359620221E-2</c:v>
                </c:pt>
                <c:pt idx="1213">
                  <c:v>3.7869078082483631E-2</c:v>
                </c:pt>
                <c:pt idx="1214">
                  <c:v>3.5961280219381497E-2</c:v>
                </c:pt>
                <c:pt idx="1215">
                  <c:v>2.74357429423987E-2</c:v>
                </c:pt>
                <c:pt idx="1216">
                  <c:v>1.9551101250799952E-2</c:v>
                </c:pt>
                <c:pt idx="1217">
                  <c:v>1.8280947513457324E-2</c:v>
                </c:pt>
                <c:pt idx="1218">
                  <c:v>1.3533302976278416E-2</c:v>
                </c:pt>
                <c:pt idx="1219">
                  <c:v>8.7537683570635405E-3</c:v>
                </c:pt>
                <c:pt idx="1220">
                  <c:v>6.1124521657969222E-3</c:v>
                </c:pt>
                <c:pt idx="1221">
                  <c:v>9.1739172236865452E-3</c:v>
                </c:pt>
                <c:pt idx="1222">
                  <c:v>7.5084956250184298E-3</c:v>
                </c:pt>
                <c:pt idx="1223">
                  <c:v>2.0622938416031689E-3</c:v>
                </c:pt>
                <c:pt idx="1224">
                  <c:v>-3.3168372419993819E-3</c:v>
                </c:pt>
                <c:pt idx="1225">
                  <c:v>-5.1555379682932667E-4</c:v>
                </c:pt>
                <c:pt idx="1226">
                  <c:v>6.9891995422086683E-3</c:v>
                </c:pt>
                <c:pt idx="1227">
                  <c:v>-6.0540403359166106E-3</c:v>
                </c:pt>
                <c:pt idx="1228">
                  <c:v>-1.6572654638484896E-2</c:v>
                </c:pt>
                <c:pt idx="1229">
                  <c:v>-1.5298608645920808E-2</c:v>
                </c:pt>
                <c:pt idx="1230">
                  <c:v>-1.2645764425939898E-2</c:v>
                </c:pt>
                <c:pt idx="1231">
                  <c:v>-2.1902477984065083E-2</c:v>
                </c:pt>
                <c:pt idx="1232">
                  <c:v>-2.9359918362736881E-2</c:v>
                </c:pt>
                <c:pt idx="1233">
                  <c:v>-1.4935281813109325E-2</c:v>
                </c:pt>
                <c:pt idx="1234">
                  <c:v>-2.1702708015436833E-2</c:v>
                </c:pt>
                <c:pt idx="1235">
                  <c:v>1.8592687531750807E-2</c:v>
                </c:pt>
                <c:pt idx="1236">
                  <c:v>7.6294294313887012E-2</c:v>
                </c:pt>
                <c:pt idx="1237">
                  <c:v>3.1208274715235573E-2</c:v>
                </c:pt>
                <c:pt idx="1238">
                  <c:v>6.8599335440381659E-2</c:v>
                </c:pt>
                <c:pt idx="1239">
                  <c:v>6.9147635348881908E-2</c:v>
                </c:pt>
                <c:pt idx="1240">
                  <c:v>8.1749601880701683E-2</c:v>
                </c:pt>
                <c:pt idx="1241">
                  <c:v>7.4297706628793869E-2</c:v>
                </c:pt>
                <c:pt idx="1242">
                  <c:v>4.787175512925812E-2</c:v>
                </c:pt>
                <c:pt idx="1243">
                  <c:v>-2.4447667597736755E-3</c:v>
                </c:pt>
                <c:pt idx="1244">
                  <c:v>4.2761027335415092E-2</c:v>
                </c:pt>
                <c:pt idx="1245">
                  <c:v>2.4581836075444063E-2</c:v>
                </c:pt>
                <c:pt idx="1246">
                  <c:v>1.8153812808131886E-2</c:v>
                </c:pt>
                <c:pt idx="1247">
                  <c:v>3.1100668438031942E-2</c:v>
                </c:pt>
                <c:pt idx="1248">
                  <c:v>9.3341444654192474E-3</c:v>
                </c:pt>
                <c:pt idx="1249">
                  <c:v>-1.0826781186515921E-3</c:v>
                </c:pt>
                <c:pt idx="1250">
                  <c:v>4.5844102011675103E-3</c:v>
                </c:pt>
                <c:pt idx="1251">
                  <c:v>-2.5659559369886731E-2</c:v>
                </c:pt>
                <c:pt idx="1252">
                  <c:v>-2.6375906913938318E-2</c:v>
                </c:pt>
                <c:pt idx="1253">
                  <c:v>-1.6763266024946932E-2</c:v>
                </c:pt>
                <c:pt idx="1254">
                  <c:v>-4.1049631852976609E-2</c:v>
                </c:pt>
                <c:pt idx="1255">
                  <c:v>-3.707216209884967E-2</c:v>
                </c:pt>
                <c:pt idx="1256">
                  <c:v>-3.6081085360514908E-2</c:v>
                </c:pt>
                <c:pt idx="1257">
                  <c:v>-4.8903796339815897E-2</c:v>
                </c:pt>
                <c:pt idx="1258">
                  <c:v>-4.7060143274296196E-2</c:v>
                </c:pt>
                <c:pt idx="1259">
                  <c:v>-2.7970719277033096E-2</c:v>
                </c:pt>
                <c:pt idx="1260">
                  <c:v>-3.2105479736558196E-2</c:v>
                </c:pt>
                <c:pt idx="1261">
                  <c:v>-2.7956617286704288E-2</c:v>
                </c:pt>
                <c:pt idx="1262">
                  <c:v>1.9225885523341812E-3</c:v>
                </c:pt>
                <c:pt idx="1263">
                  <c:v>-1.0173448252994044E-2</c:v>
                </c:pt>
                <c:pt idx="1264">
                  <c:v>2.1861863676966298E-3</c:v>
                </c:pt>
                <c:pt idx="1265">
                  <c:v>1.6566636416451064E-2</c:v>
                </c:pt>
                <c:pt idx="1266">
                  <c:v>4.2747143605040061E-2</c:v>
                </c:pt>
                <c:pt idx="1267">
                  <c:v>8.7015557330623938E-2</c:v>
                </c:pt>
                <c:pt idx="1268">
                  <c:v>8.0941020128927121E-2</c:v>
                </c:pt>
                <c:pt idx="1269">
                  <c:v>7.2775132137619103E-2</c:v>
                </c:pt>
                <c:pt idx="1270">
                  <c:v>0.10670299304918673</c:v>
                </c:pt>
                <c:pt idx="1271">
                  <c:v>7.9287845928485368E-2</c:v>
                </c:pt>
                <c:pt idx="1272">
                  <c:v>5.312004834231393E-2</c:v>
                </c:pt>
                <c:pt idx="1273">
                  <c:v>2.5043368791238807E-2</c:v>
                </c:pt>
                <c:pt idx="1274">
                  <c:v>1.047817322300193E-2</c:v>
                </c:pt>
                <c:pt idx="1275">
                  <c:v>1.10906432241481E-2</c:v>
                </c:pt>
                <c:pt idx="1276">
                  <c:v>-6.498048242039034E-2</c:v>
                </c:pt>
                <c:pt idx="1277">
                  <c:v>-1.6359706562601439E-2</c:v>
                </c:pt>
                <c:pt idx="1278">
                  <c:v>-2.455416969950508E-2</c:v>
                </c:pt>
                <c:pt idx="1279">
                  <c:v>8.0028478817341098E-3</c:v>
                </c:pt>
                <c:pt idx="1280">
                  <c:v>4.8806841366478393E-2</c:v>
                </c:pt>
                <c:pt idx="1281">
                  <c:v>8.1800347164275644E-2</c:v>
                </c:pt>
                <c:pt idx="1282">
                  <c:v>8.5100489608164964E-2</c:v>
                </c:pt>
                <c:pt idx="1283">
                  <c:v>7.2873705236150887E-2</c:v>
                </c:pt>
                <c:pt idx="1284">
                  <c:v>9.5858335593846378E-2</c:v>
                </c:pt>
                <c:pt idx="1285">
                  <c:v>0.11044009339196503</c:v>
                </c:pt>
                <c:pt idx="1286">
                  <c:v>0.10795745410911883</c:v>
                </c:pt>
                <c:pt idx="1287">
                  <c:v>0.12599389906685332</c:v>
                </c:pt>
                <c:pt idx="1288">
                  <c:v>0.14486065265150172</c:v>
                </c:pt>
                <c:pt idx="1289">
                  <c:v>0.12387443528130049</c:v>
                </c:pt>
                <c:pt idx="1290">
                  <c:v>0.12656474632926074</c:v>
                </c:pt>
                <c:pt idx="1291">
                  <c:v>0.13719104361556833</c:v>
                </c:pt>
                <c:pt idx="1292">
                  <c:v>0.14587999228191506</c:v>
                </c:pt>
                <c:pt idx="1293">
                  <c:v>0.13818673139624504</c:v>
                </c:pt>
                <c:pt idx="1294">
                  <c:v>0.12922898621773449</c:v>
                </c:pt>
                <c:pt idx="1295">
                  <c:v>0.13463358700123462</c:v>
                </c:pt>
                <c:pt idx="1296">
                  <c:v>0.16484437291736054</c:v>
                </c:pt>
                <c:pt idx="1297">
                  <c:v>0.14402921743798658</c:v>
                </c:pt>
                <c:pt idx="1298">
                  <c:v>0.16370168830882803</c:v>
                </c:pt>
                <c:pt idx="1299">
                  <c:v>0.15079050191451582</c:v>
                </c:pt>
                <c:pt idx="1300">
                  <c:v>8.5105246008132629E-2</c:v>
                </c:pt>
                <c:pt idx="1301">
                  <c:v>7.7800814796436968E-2</c:v>
                </c:pt>
                <c:pt idx="1302">
                  <c:v>0.10956207419874586</c:v>
                </c:pt>
                <c:pt idx="1303">
                  <c:v>6.9939789562495802E-2</c:v>
                </c:pt>
                <c:pt idx="1304">
                  <c:v>7.0023462227524647E-2</c:v>
                </c:pt>
                <c:pt idx="1305">
                  <c:v>-2.1303216620160104E-2</c:v>
                </c:pt>
                <c:pt idx="1306">
                  <c:v>-1.8391401166483745E-2</c:v>
                </c:pt>
                <c:pt idx="1307">
                  <c:v>-2.1046222045134511E-2</c:v>
                </c:pt>
                <c:pt idx="1308">
                  <c:v>-2.4803523284873452E-2</c:v>
                </c:pt>
                <c:pt idx="1309">
                  <c:v>-2.9034246617434589E-2</c:v>
                </c:pt>
                <c:pt idx="1310">
                  <c:v>-1.5696676530048248E-2</c:v>
                </c:pt>
                <c:pt idx="1311">
                  <c:v>-1.9663432868236685E-2</c:v>
                </c:pt>
                <c:pt idx="1312">
                  <c:v>-3.5983899948588416E-3</c:v>
                </c:pt>
                <c:pt idx="1313">
                  <c:v>4.7489336341199895E-4</c:v>
                </c:pt>
                <c:pt idx="1314">
                  <c:v>2.1739197397786514E-3</c:v>
                </c:pt>
                <c:pt idx="1315">
                  <c:v>1.2618409391883412E-2</c:v>
                </c:pt>
                <c:pt idx="1316">
                  <c:v>1.4169707360298878E-2</c:v>
                </c:pt>
                <c:pt idx="1317">
                  <c:v>2.0523407049151787E-2</c:v>
                </c:pt>
                <c:pt idx="1318">
                  <c:v>1.829181463348506E-2</c:v>
                </c:pt>
                <c:pt idx="1319">
                  <c:v>2.3480920040143349E-2</c:v>
                </c:pt>
                <c:pt idx="1320">
                  <c:v>2.2395225020585108E-2</c:v>
                </c:pt>
                <c:pt idx="1321">
                  <c:v>1.9983177562245547E-2</c:v>
                </c:pt>
                <c:pt idx="1322">
                  <c:v>2.1798623145620089E-2</c:v>
                </c:pt>
                <c:pt idx="1323">
                  <c:v>1.9409534681029239E-2</c:v>
                </c:pt>
                <c:pt idx="1324">
                  <c:v>2.2838668200516832E-2</c:v>
                </c:pt>
                <c:pt idx="1325">
                  <c:v>3.1471946966553976E-2</c:v>
                </c:pt>
                <c:pt idx="1326">
                  <c:v>3.0748817328392852E-2</c:v>
                </c:pt>
                <c:pt idx="1327">
                  <c:v>3.2224037147286722E-2</c:v>
                </c:pt>
                <c:pt idx="1328">
                  <c:v>4.0997488450003283E-2</c:v>
                </c:pt>
                <c:pt idx="1329">
                  <c:v>3.2330121653734278E-2</c:v>
                </c:pt>
                <c:pt idx="1330">
                  <c:v>3.4349145552141969E-2</c:v>
                </c:pt>
                <c:pt idx="1331">
                  <c:v>2.885860718899369E-2</c:v>
                </c:pt>
                <c:pt idx="1332">
                  <c:v>2.695958177473512E-2</c:v>
                </c:pt>
                <c:pt idx="1333">
                  <c:v>2.530104428289881E-2</c:v>
                </c:pt>
                <c:pt idx="1334">
                  <c:v>2.4456704203197233E-2</c:v>
                </c:pt>
                <c:pt idx="1335">
                  <c:v>1.8627103313537452E-2</c:v>
                </c:pt>
                <c:pt idx="1336">
                  <c:v>1.6146521823783289E-2</c:v>
                </c:pt>
                <c:pt idx="1337">
                  <c:v>1.6747227619367089E-2</c:v>
                </c:pt>
                <c:pt idx="1338">
                  <c:v>1.5746162157289412E-2</c:v>
                </c:pt>
                <c:pt idx="1339">
                  <c:v>2.5654519913091534E-2</c:v>
                </c:pt>
                <c:pt idx="1340">
                  <c:v>1.9803226760065074E-2</c:v>
                </c:pt>
                <c:pt idx="1341">
                  <c:v>2.0941037835908949E-2</c:v>
                </c:pt>
                <c:pt idx="1342">
                  <c:v>1.5703093905997223E-2</c:v>
                </c:pt>
                <c:pt idx="1343">
                  <c:v>2.1601065279564624E-2</c:v>
                </c:pt>
                <c:pt idx="1344">
                  <c:v>2.7628719291371118E-2</c:v>
                </c:pt>
                <c:pt idx="1345">
                  <c:v>1.7797778938007269E-2</c:v>
                </c:pt>
                <c:pt idx="1346">
                  <c:v>1.5686983300520874E-2</c:v>
                </c:pt>
                <c:pt idx="1347">
                  <c:v>8.0179599773325672E-3</c:v>
                </c:pt>
                <c:pt idx="1348">
                  <c:v>6.9086478897029124E-3</c:v>
                </c:pt>
                <c:pt idx="1349">
                  <c:v>3.8680214455095729E-3</c:v>
                </c:pt>
                <c:pt idx="1350">
                  <c:v>6.5516296424377174E-3</c:v>
                </c:pt>
                <c:pt idx="1351">
                  <c:v>7.439962627412422E-4</c:v>
                </c:pt>
                <c:pt idx="1352">
                  <c:v>7.4989633480150308E-3</c:v>
                </c:pt>
                <c:pt idx="1353">
                  <c:v>7.716755945907261E-3</c:v>
                </c:pt>
                <c:pt idx="1354">
                  <c:v>1.0037642744674447E-2</c:v>
                </c:pt>
                <c:pt idx="1355">
                  <c:v>3.6026092818329802E-3</c:v>
                </c:pt>
                <c:pt idx="1356">
                  <c:v>-1.5655107826882952E-3</c:v>
                </c:pt>
                <c:pt idx="1357">
                  <c:v>-5.1738057295729334E-3</c:v>
                </c:pt>
                <c:pt idx="1358">
                  <c:v>-4.722221904149726E-3</c:v>
                </c:pt>
                <c:pt idx="1359">
                  <c:v>-3.1950448281624633E-3</c:v>
                </c:pt>
                <c:pt idx="1360">
                  <c:v>-1.3629377454315472E-2</c:v>
                </c:pt>
                <c:pt idx="1361">
                  <c:v>-5.4708542805657068E-3</c:v>
                </c:pt>
                <c:pt idx="1362">
                  <c:v>3.4942516942237933E-4</c:v>
                </c:pt>
                <c:pt idx="1363">
                  <c:v>3.9718146029945611E-3</c:v>
                </c:pt>
                <c:pt idx="1364">
                  <c:v>1.0338660818414835E-2</c:v>
                </c:pt>
                <c:pt idx="1365">
                  <c:v>1.9699626730883435E-2</c:v>
                </c:pt>
                <c:pt idx="1366">
                  <c:v>1.6908162493692536E-2</c:v>
                </c:pt>
                <c:pt idx="1367">
                  <c:v>2.8721706877188335E-3</c:v>
                </c:pt>
                <c:pt idx="1368">
                  <c:v>1.5723464941621357E-2</c:v>
                </c:pt>
                <c:pt idx="1369">
                  <c:v>8.0662015975915269E-3</c:v>
                </c:pt>
                <c:pt idx="1370">
                  <c:v>1.431942698965738E-2</c:v>
                </c:pt>
                <c:pt idx="1371">
                  <c:v>6.9098710316520817E-3</c:v>
                </c:pt>
                <c:pt idx="1372">
                  <c:v>6.3764800637877705E-3</c:v>
                </c:pt>
                <c:pt idx="1373">
                  <c:v>1.4306653622255805E-3</c:v>
                </c:pt>
                <c:pt idx="1374">
                  <c:v>4.969850267686593E-3</c:v>
                </c:pt>
                <c:pt idx="1375">
                  <c:v>1.4891094837007679E-2</c:v>
                </c:pt>
                <c:pt idx="1376">
                  <c:v>1.7613193736540134E-2</c:v>
                </c:pt>
                <c:pt idx="1377">
                  <c:v>2.0902371574222811E-2</c:v>
                </c:pt>
                <c:pt idx="1378">
                  <c:v>2.4122360269287157E-2</c:v>
                </c:pt>
                <c:pt idx="1379">
                  <c:v>2.719572764915712E-2</c:v>
                </c:pt>
                <c:pt idx="1380">
                  <c:v>2.3152620967212267E-2</c:v>
                </c:pt>
                <c:pt idx="1381">
                  <c:v>2.4543495861963915E-2</c:v>
                </c:pt>
                <c:pt idx="1382">
                  <c:v>2.1583946639470608E-2</c:v>
                </c:pt>
                <c:pt idx="1383">
                  <c:v>1.9269492375654007E-2</c:v>
                </c:pt>
                <c:pt idx="1384">
                  <c:v>6.0426611143749032E-3</c:v>
                </c:pt>
                <c:pt idx="1385">
                  <c:v>9.4916420294492987E-3</c:v>
                </c:pt>
                <c:pt idx="1386">
                  <c:v>1.6003353298010059E-2</c:v>
                </c:pt>
                <c:pt idx="1387">
                  <c:v>1.5303528912240738E-2</c:v>
                </c:pt>
                <c:pt idx="1388">
                  <c:v>1.7222972479219445E-2</c:v>
                </c:pt>
                <c:pt idx="1389">
                  <c:v>2.4295414155929063E-2</c:v>
                </c:pt>
                <c:pt idx="1390">
                  <c:v>3.7374666040708493E-2</c:v>
                </c:pt>
                <c:pt idx="1391">
                  <c:v>2.7210286150610719E-2</c:v>
                </c:pt>
                <c:pt idx="1392">
                  <c:v>1.8322070885885666E-2</c:v>
                </c:pt>
                <c:pt idx="1393">
                  <c:v>1.5957402627750583E-2</c:v>
                </c:pt>
                <c:pt idx="1394">
                  <c:v>1.3141082071608357E-2</c:v>
                </c:pt>
                <c:pt idx="1395">
                  <c:v>5.0614306665763831E-3</c:v>
                </c:pt>
                <c:pt idx="1396">
                  <c:v>2.0853489789406376E-3</c:v>
                </c:pt>
                <c:pt idx="1397">
                  <c:v>9.9971419075447487E-3</c:v>
                </c:pt>
                <c:pt idx="1398">
                  <c:v>5.1652826181332046E-3</c:v>
                </c:pt>
                <c:pt idx="1399">
                  <c:v>1.0742353675738281E-2</c:v>
                </c:pt>
                <c:pt idx="1400">
                  <c:v>-2.5790734471172749E-3</c:v>
                </c:pt>
                <c:pt idx="1401">
                  <c:v>-4.1607382324909681E-3</c:v>
                </c:pt>
                <c:pt idx="1402">
                  <c:v>-1.0987079415508694E-3</c:v>
                </c:pt>
                <c:pt idx="1403">
                  <c:v>-1.1658694022471661E-3</c:v>
                </c:pt>
                <c:pt idx="1404">
                  <c:v>-6.2334995511432734E-3</c:v>
                </c:pt>
                <c:pt idx="1405">
                  <c:v>-1.2356917445140447E-2</c:v>
                </c:pt>
                <c:pt idx="1406">
                  <c:v>-2.6408888529729224E-2</c:v>
                </c:pt>
                <c:pt idx="1407">
                  <c:v>-2.6683283903791599E-2</c:v>
                </c:pt>
                <c:pt idx="1408">
                  <c:v>-2.4318925678284198E-2</c:v>
                </c:pt>
                <c:pt idx="1409">
                  <c:v>-3.8942567811923512E-2</c:v>
                </c:pt>
                <c:pt idx="1410">
                  <c:v>-3.9995204470688273E-2</c:v>
                </c:pt>
                <c:pt idx="1411">
                  <c:v>-5.5807175958731969E-2</c:v>
                </c:pt>
                <c:pt idx="1412">
                  <c:v>-5.8333038921752789E-2</c:v>
                </c:pt>
                <c:pt idx="1413">
                  <c:v>-6.4606922540091372E-2</c:v>
                </c:pt>
                <c:pt idx="1414">
                  <c:v>-5.58305321350554E-2</c:v>
                </c:pt>
                <c:pt idx="1415">
                  <c:v>-5.3992287669988093E-2</c:v>
                </c:pt>
                <c:pt idx="1416">
                  <c:v>-5.6940538683343811E-2</c:v>
                </c:pt>
                <c:pt idx="1417">
                  <c:v>-5.7375031547391209E-2</c:v>
                </c:pt>
                <c:pt idx="1418">
                  <c:v>-5.2630406331760637E-2</c:v>
                </c:pt>
                <c:pt idx="1419">
                  <c:v>-4.6783348078974774E-2</c:v>
                </c:pt>
                <c:pt idx="1420">
                  <c:v>-5.0006908855117493E-2</c:v>
                </c:pt>
                <c:pt idx="1421">
                  <c:v>-4.3881467149138653E-2</c:v>
                </c:pt>
                <c:pt idx="1422">
                  <c:v>-3.235139084372074E-2</c:v>
                </c:pt>
                <c:pt idx="1423">
                  <c:v>-3.1007919275086393E-2</c:v>
                </c:pt>
                <c:pt idx="1424">
                  <c:v>-2.4124466995833482E-2</c:v>
                </c:pt>
                <c:pt idx="1425">
                  <c:v>-5.7509057236491135E-3</c:v>
                </c:pt>
                <c:pt idx="1426">
                  <c:v>-1.2143567218297124E-2</c:v>
                </c:pt>
                <c:pt idx="1427">
                  <c:v>-9.8094321768902315E-3</c:v>
                </c:pt>
                <c:pt idx="1428">
                  <c:v>-6.8784084292887737E-3</c:v>
                </c:pt>
                <c:pt idx="1429">
                  <c:v>-3.9487269287714621E-3</c:v>
                </c:pt>
                <c:pt idx="1430">
                  <c:v>1.1262780059675292E-2</c:v>
                </c:pt>
                <c:pt idx="1431">
                  <c:v>1.6811264210475962E-2</c:v>
                </c:pt>
                <c:pt idx="1432">
                  <c:v>1.4653192491752676E-2</c:v>
                </c:pt>
                <c:pt idx="1433">
                  <c:v>1.3330576617183509E-2</c:v>
                </c:pt>
                <c:pt idx="1434">
                  <c:v>1.9147332740312106E-2</c:v>
                </c:pt>
                <c:pt idx="1435">
                  <c:v>1.3096924516168507E-2</c:v>
                </c:pt>
                <c:pt idx="1436">
                  <c:v>1.5167073905211548E-2</c:v>
                </c:pt>
                <c:pt idx="1437">
                  <c:v>1.0361444033686884E-2</c:v>
                </c:pt>
                <c:pt idx="1438">
                  <c:v>7.6004118220015515E-3</c:v>
                </c:pt>
                <c:pt idx="1439">
                  <c:v>1.2495896799070927E-2</c:v>
                </c:pt>
                <c:pt idx="1440">
                  <c:v>1.6641942585136738E-2</c:v>
                </c:pt>
                <c:pt idx="1441">
                  <c:v>1.839779160605759E-2</c:v>
                </c:pt>
                <c:pt idx="1442">
                  <c:v>1.5710643456630535E-2</c:v>
                </c:pt>
                <c:pt idx="1443">
                  <c:v>1.8922210111962157E-2</c:v>
                </c:pt>
                <c:pt idx="1444">
                  <c:v>2.1347483001874057E-2</c:v>
                </c:pt>
                <c:pt idx="1445">
                  <c:v>2.0032888955440642E-2</c:v>
                </c:pt>
                <c:pt idx="1446">
                  <c:v>2.4402863707007838E-2</c:v>
                </c:pt>
                <c:pt idx="1447">
                  <c:v>2.4473304869940482E-2</c:v>
                </c:pt>
                <c:pt idx="1448">
                  <c:v>1.9499940170902619E-2</c:v>
                </c:pt>
                <c:pt idx="1449">
                  <c:v>1.7040586329643115E-2</c:v>
                </c:pt>
                <c:pt idx="1450">
                  <c:v>1.7627978737295602E-2</c:v>
                </c:pt>
                <c:pt idx="1451">
                  <c:v>1.6661887407998566E-2</c:v>
                </c:pt>
                <c:pt idx="1452">
                  <c:v>1.6507821993253069E-2</c:v>
                </c:pt>
                <c:pt idx="1453">
                  <c:v>1.6559503312349233E-2</c:v>
                </c:pt>
                <c:pt idx="1454">
                  <c:v>-3.4539340379245997E-3</c:v>
                </c:pt>
                <c:pt idx="1455">
                  <c:v>-1.5635633092130452E-2</c:v>
                </c:pt>
                <c:pt idx="1456">
                  <c:v>-5.7760781556436269E-3</c:v>
                </c:pt>
                <c:pt idx="1457">
                  <c:v>-2.1209484940321044E-3</c:v>
                </c:pt>
                <c:pt idx="1458">
                  <c:v>-5.3100381573165656E-3</c:v>
                </c:pt>
                <c:pt idx="1459">
                  <c:v>-5.86948075791216E-3</c:v>
                </c:pt>
                <c:pt idx="1460">
                  <c:v>-1.7857105002898166E-2</c:v>
                </c:pt>
                <c:pt idx="1461">
                  <c:v>-1.3040704646538392E-2</c:v>
                </c:pt>
                <c:pt idx="1462">
                  <c:v>-1.2815585175494526E-2</c:v>
                </c:pt>
                <c:pt idx="1463">
                  <c:v>-1.6295118770119799E-2</c:v>
                </c:pt>
                <c:pt idx="1464">
                  <c:v>-1.1052916142782365E-2</c:v>
                </c:pt>
                <c:pt idx="1465">
                  <c:v>-6.380415358534397E-3</c:v>
                </c:pt>
                <c:pt idx="1466">
                  <c:v>-6.908326863358405E-3</c:v>
                </c:pt>
                <c:pt idx="1467">
                  <c:v>1.4675089381319673E-3</c:v>
                </c:pt>
                <c:pt idx="1468">
                  <c:v>2.314658974063688E-3</c:v>
                </c:pt>
                <c:pt idx="1469">
                  <c:v>2.3284005847794553E-3</c:v>
                </c:pt>
                <c:pt idx="1470">
                  <c:v>2.5223885002416679E-3</c:v>
                </c:pt>
                <c:pt idx="1471">
                  <c:v>6.8785988371179441E-3</c:v>
                </c:pt>
                <c:pt idx="1472">
                  <c:v>6.7679838313158269E-3</c:v>
                </c:pt>
                <c:pt idx="1473">
                  <c:v>1.1735211432309489E-2</c:v>
                </c:pt>
                <c:pt idx="1474">
                  <c:v>3.7088216122670437E-3</c:v>
                </c:pt>
                <c:pt idx="1475">
                  <c:v>9.4753953020533244E-3</c:v>
                </c:pt>
                <c:pt idx="1476">
                  <c:v>9.8199160190746149E-3</c:v>
                </c:pt>
                <c:pt idx="1477">
                  <c:v>3.7374503969005435E-3</c:v>
                </c:pt>
                <c:pt idx="1478">
                  <c:v>7.8262434142584159E-3</c:v>
                </c:pt>
                <c:pt idx="1479">
                  <c:v>-2.1158642776535341E-3</c:v>
                </c:pt>
                <c:pt idx="1480">
                  <c:v>-7.9489950494615602E-3</c:v>
                </c:pt>
                <c:pt idx="1481">
                  <c:v>-8.7993442234601815E-4</c:v>
                </c:pt>
                <c:pt idx="1482">
                  <c:v>-1.0532393395008E-2</c:v>
                </c:pt>
                <c:pt idx="1483">
                  <c:v>-1.3483259531269276E-2</c:v>
                </c:pt>
                <c:pt idx="1484">
                  <c:v>-1.7594908032074752E-3</c:v>
                </c:pt>
                <c:pt idx="1485">
                  <c:v>6.0493751855470457E-3</c:v>
                </c:pt>
                <c:pt idx="1486">
                  <c:v>1.8707144358109051E-2</c:v>
                </c:pt>
                <c:pt idx="1487">
                  <c:v>1.5618588985347737E-2</c:v>
                </c:pt>
                <c:pt idx="1488">
                  <c:v>1.7620742846442439E-2</c:v>
                </c:pt>
                <c:pt idx="1489">
                  <c:v>1.6255322590939425E-2</c:v>
                </c:pt>
                <c:pt idx="1490">
                  <c:v>1.546714332602539E-2</c:v>
                </c:pt>
                <c:pt idx="1491">
                  <c:v>8.3298894946147728E-3</c:v>
                </c:pt>
                <c:pt idx="1492">
                  <c:v>1.4889301777075703E-3</c:v>
                </c:pt>
                <c:pt idx="1493">
                  <c:v>-4.7692067714848463E-3</c:v>
                </c:pt>
                <c:pt idx="1494">
                  <c:v>-6.1702567588143298E-3</c:v>
                </c:pt>
                <c:pt idx="1495">
                  <c:v>-5.9777147942617903E-3</c:v>
                </c:pt>
                <c:pt idx="1496">
                  <c:v>-5.0631457590150086E-3</c:v>
                </c:pt>
                <c:pt idx="1497">
                  <c:v>-1.8982830573839315E-3</c:v>
                </c:pt>
                <c:pt idx="1498">
                  <c:v>-2.2929183604712966E-3</c:v>
                </c:pt>
                <c:pt idx="1499">
                  <c:v>3.9923226590313776E-3</c:v>
                </c:pt>
                <c:pt idx="1500">
                  <c:v>-6.5055423648751054E-3</c:v>
                </c:pt>
                <c:pt idx="1501">
                  <c:v>4.8768470547463361E-3</c:v>
                </c:pt>
                <c:pt idx="1502">
                  <c:v>3.1021930658375885E-3</c:v>
                </c:pt>
                <c:pt idx="1503">
                  <c:v>-1.0476700209574141E-2</c:v>
                </c:pt>
                <c:pt idx="1504">
                  <c:v>-2.0108707457598962E-3</c:v>
                </c:pt>
                <c:pt idx="1505">
                  <c:v>-6.9910718331307464E-3</c:v>
                </c:pt>
                <c:pt idx="1506">
                  <c:v>-2.3981856116624956E-3</c:v>
                </c:pt>
                <c:pt idx="1507">
                  <c:v>1.458111037723997E-2</c:v>
                </c:pt>
                <c:pt idx="1508">
                  <c:v>1.5188129032252973E-2</c:v>
                </c:pt>
                <c:pt idx="1509">
                  <c:v>9.9054527241185797E-3</c:v>
                </c:pt>
                <c:pt idx="1510">
                  <c:v>7.1961880355733143E-3</c:v>
                </c:pt>
                <c:pt idx="1511">
                  <c:v>1.3246821125092123E-2</c:v>
                </c:pt>
                <c:pt idx="1512">
                  <c:v>1.4773205849768156E-2</c:v>
                </c:pt>
                <c:pt idx="1513">
                  <c:v>7.6932541757082085E-3</c:v>
                </c:pt>
                <c:pt idx="1514">
                  <c:v>1.406277669259659E-2</c:v>
                </c:pt>
                <c:pt idx="1515">
                  <c:v>1.0185886025206869E-2</c:v>
                </c:pt>
                <c:pt idx="1516">
                  <c:v>-7.1172837044897186E-4</c:v>
                </c:pt>
                <c:pt idx="1517">
                  <c:v>2.9425368983874156E-3</c:v>
                </c:pt>
                <c:pt idx="1518">
                  <c:v>1.1746055270782652E-2</c:v>
                </c:pt>
                <c:pt idx="1519">
                  <c:v>1.4435544014134827E-2</c:v>
                </c:pt>
                <c:pt idx="1520">
                  <c:v>3.9464636628794292E-3</c:v>
                </c:pt>
                <c:pt idx="1521">
                  <c:v>1.0414107479891577E-2</c:v>
                </c:pt>
                <c:pt idx="1522">
                  <c:v>5.4610064393330049E-3</c:v>
                </c:pt>
                <c:pt idx="1523">
                  <c:v>1.0657956133988566E-2</c:v>
                </c:pt>
                <c:pt idx="1524">
                  <c:v>5.754517457460584E-3</c:v>
                </c:pt>
                <c:pt idx="1525">
                  <c:v>9.5452558079170968E-3</c:v>
                </c:pt>
                <c:pt idx="1526">
                  <c:v>7.0773394899515951E-3</c:v>
                </c:pt>
                <c:pt idx="1527">
                  <c:v>6.2931919194084696E-3</c:v>
                </c:pt>
                <c:pt idx="1528">
                  <c:v>1.3542778416387069E-2</c:v>
                </c:pt>
                <c:pt idx="1529">
                  <c:v>1.7851350375603925E-3</c:v>
                </c:pt>
                <c:pt idx="1530">
                  <c:v>1.065984780101592E-2</c:v>
                </c:pt>
                <c:pt idx="1531">
                  <c:v>4.1452123191759727E-3</c:v>
                </c:pt>
                <c:pt idx="1532">
                  <c:v>1.2812952802217725E-2</c:v>
                </c:pt>
                <c:pt idx="1533">
                  <c:v>1.0043895048743701E-2</c:v>
                </c:pt>
                <c:pt idx="1534">
                  <c:v>9.0352958605394162E-3</c:v>
                </c:pt>
                <c:pt idx="1535">
                  <c:v>9.6194439856052139E-3</c:v>
                </c:pt>
                <c:pt idx="1536">
                  <c:v>6.3413596729190447E-3</c:v>
                </c:pt>
                <c:pt idx="1537">
                  <c:v>7.6467713150425443E-3</c:v>
                </c:pt>
                <c:pt idx="1538">
                  <c:v>1.1607526490868048E-2</c:v>
                </c:pt>
                <c:pt idx="1539">
                  <c:v>1.1048335093157946E-2</c:v>
                </c:pt>
                <c:pt idx="1540">
                  <c:v>1.1508607696847806E-2</c:v>
                </c:pt>
                <c:pt idx="1541">
                  <c:v>1.1855725645733339E-2</c:v>
                </c:pt>
                <c:pt idx="1542">
                  <c:v>7.8143311164411422E-3</c:v>
                </c:pt>
                <c:pt idx="1543">
                  <c:v>8.6755227730661577E-3</c:v>
                </c:pt>
                <c:pt idx="1544">
                  <c:v>-1.2991466218849057E-3</c:v>
                </c:pt>
                <c:pt idx="1545">
                  <c:v>1.2257301827730549E-3</c:v>
                </c:pt>
                <c:pt idx="1546">
                  <c:v>-9.3823887030454189E-3</c:v>
                </c:pt>
                <c:pt idx="1547">
                  <c:v>-1.450851808052378E-2</c:v>
                </c:pt>
                <c:pt idx="1548">
                  <c:v>-1.5570321163033252E-2</c:v>
                </c:pt>
                <c:pt idx="1549">
                  <c:v>-2.5669437746357215E-2</c:v>
                </c:pt>
                <c:pt idx="1550">
                  <c:v>-2.0500086694708819E-2</c:v>
                </c:pt>
                <c:pt idx="1551">
                  <c:v>-1.8508331793966049E-2</c:v>
                </c:pt>
                <c:pt idx="1552">
                  <c:v>-1.0056215024079607E-2</c:v>
                </c:pt>
                <c:pt idx="1553">
                  <c:v>-8.9719308376817741E-3</c:v>
                </c:pt>
                <c:pt idx="1554">
                  <c:v>-1.1975864958268079E-2</c:v>
                </c:pt>
                <c:pt idx="1555">
                  <c:v>-1.1828703230478355E-2</c:v>
                </c:pt>
                <c:pt idx="1556">
                  <c:v>-7.5257578200285113E-3</c:v>
                </c:pt>
                <c:pt idx="1557">
                  <c:v>-2.1809659149116811E-3</c:v>
                </c:pt>
                <c:pt idx="1558">
                  <c:v>-2.3847838839777813E-3</c:v>
                </c:pt>
                <c:pt idx="1559">
                  <c:v>-2.6268473951506222E-3</c:v>
                </c:pt>
                <c:pt idx="1560">
                  <c:v>-2.9786251856254164E-3</c:v>
                </c:pt>
                <c:pt idx="1561">
                  <c:v>1.119852104541863E-2</c:v>
                </c:pt>
                <c:pt idx="1562">
                  <c:v>2.1310798881947202E-3</c:v>
                </c:pt>
                <c:pt idx="1563">
                  <c:v>2.3263037213892002E-2</c:v>
                </c:pt>
                <c:pt idx="1564">
                  <c:v>2.357697727861785E-2</c:v>
                </c:pt>
                <c:pt idx="1565">
                  <c:v>1.9283971005282008E-2</c:v>
                </c:pt>
                <c:pt idx="1566">
                  <c:v>9.3702079119403203E-3</c:v>
                </c:pt>
                <c:pt idx="1567">
                  <c:v>8.1505027003113684E-3</c:v>
                </c:pt>
                <c:pt idx="1568">
                  <c:v>6.1925595739950046E-3</c:v>
                </c:pt>
                <c:pt idx="1569">
                  <c:v>3.9277763437929325E-3</c:v>
                </c:pt>
                <c:pt idx="1570">
                  <c:v>4.0710796119364234E-3</c:v>
                </c:pt>
                <c:pt idx="1571">
                  <c:v>1.2484570299380215E-2</c:v>
                </c:pt>
                <c:pt idx="1572">
                  <c:v>1.1392150412645075E-2</c:v>
                </c:pt>
                <c:pt idx="1573">
                  <c:v>1.2143891133423734E-2</c:v>
                </c:pt>
                <c:pt idx="1574">
                  <c:v>6.0325722060464715E-3</c:v>
                </c:pt>
                <c:pt idx="1575">
                  <c:v>5.2922634994095885E-3</c:v>
                </c:pt>
                <c:pt idx="1576">
                  <c:v>8.3554501119693647E-3</c:v>
                </c:pt>
                <c:pt idx="1577">
                  <c:v>8.4924469959387627E-3</c:v>
                </c:pt>
                <c:pt idx="1578">
                  <c:v>9.6133956762888273E-3</c:v>
                </c:pt>
                <c:pt idx="1579">
                  <c:v>1.2853428039786063E-2</c:v>
                </c:pt>
                <c:pt idx="1580">
                  <c:v>5.1210891839974515E-3</c:v>
                </c:pt>
                <c:pt idx="1581">
                  <c:v>2.760849761946349E-3</c:v>
                </c:pt>
                <c:pt idx="1582">
                  <c:v>5.6303893521292281E-3</c:v>
                </c:pt>
                <c:pt idx="1583">
                  <c:v>9.4050591724212929E-3</c:v>
                </c:pt>
                <c:pt idx="1584">
                  <c:v>7.9023246980381989E-3</c:v>
                </c:pt>
                <c:pt idx="1585">
                  <c:v>9.7400960640325884E-3</c:v>
                </c:pt>
                <c:pt idx="1586">
                  <c:v>1.0342945487222033E-2</c:v>
                </c:pt>
                <c:pt idx="1587">
                  <c:v>1.0074119363301715E-2</c:v>
                </c:pt>
                <c:pt idx="1588">
                  <c:v>7.6660801310900473E-3</c:v>
                </c:pt>
                <c:pt idx="1589">
                  <c:v>1.4938474157203729E-2</c:v>
                </c:pt>
                <c:pt idx="1590">
                  <c:v>7.3067123297317904E-3</c:v>
                </c:pt>
                <c:pt idx="1591">
                  <c:v>6.3920507739650967E-3</c:v>
                </c:pt>
                <c:pt idx="1592">
                  <c:v>4.7670035442473058E-3</c:v>
                </c:pt>
                <c:pt idx="1593">
                  <c:v>8.2754341547903731E-3</c:v>
                </c:pt>
                <c:pt idx="1594">
                  <c:v>4.310304318678071E-3</c:v>
                </c:pt>
                <c:pt idx="1595">
                  <c:v>1.2586762490267023E-2</c:v>
                </c:pt>
                <c:pt idx="1596">
                  <c:v>1.6138654885961556E-2</c:v>
                </c:pt>
                <c:pt idx="1597">
                  <c:v>1.1498699479579155E-2</c:v>
                </c:pt>
                <c:pt idx="1598">
                  <c:v>9.547654139118178E-4</c:v>
                </c:pt>
                <c:pt idx="1599">
                  <c:v>3.1207820167846734E-3</c:v>
                </c:pt>
                <c:pt idx="1600">
                  <c:v>7.6051469830867857E-3</c:v>
                </c:pt>
                <c:pt idx="1601">
                  <c:v>2.3608688724785498E-3</c:v>
                </c:pt>
                <c:pt idx="1602">
                  <c:v>7.3952806054172759E-3</c:v>
                </c:pt>
                <c:pt idx="1603">
                  <c:v>1.3397483143400613E-2</c:v>
                </c:pt>
                <c:pt idx="1604">
                  <c:v>8.4743213887974456E-3</c:v>
                </c:pt>
                <c:pt idx="1605">
                  <c:v>3.4591923197602181E-3</c:v>
                </c:pt>
                <c:pt idx="1606">
                  <c:v>-2.9865247336652301E-3</c:v>
                </c:pt>
                <c:pt idx="1607">
                  <c:v>8.6575859757195284E-3</c:v>
                </c:pt>
                <c:pt idx="1608">
                  <c:v>3.8633529852402093E-3</c:v>
                </c:pt>
                <c:pt idx="1609">
                  <c:v>4.0899630372231988E-3</c:v>
                </c:pt>
                <c:pt idx="1610">
                  <c:v>5.4688687025787885E-3</c:v>
                </c:pt>
                <c:pt idx="1611">
                  <c:v>4.6612796610393525E-3</c:v>
                </c:pt>
                <c:pt idx="1612">
                  <c:v>8.2438414470092924E-3</c:v>
                </c:pt>
                <c:pt idx="1613">
                  <c:v>8.5236199201154106E-3</c:v>
                </c:pt>
                <c:pt idx="1614">
                  <c:v>1.226366985645988E-2</c:v>
                </c:pt>
                <c:pt idx="1615">
                  <c:v>8.2385124869907012E-3</c:v>
                </c:pt>
                <c:pt idx="1616">
                  <c:v>1.0395248974392035E-2</c:v>
                </c:pt>
                <c:pt idx="1617">
                  <c:v>8.6319516131612151E-3</c:v>
                </c:pt>
                <c:pt idx="1618">
                  <c:v>8.2710953951778965E-3</c:v>
                </c:pt>
                <c:pt idx="1619">
                  <c:v>7.1660765556099681E-3</c:v>
                </c:pt>
                <c:pt idx="1620">
                  <c:v>1.3650385908855367E-2</c:v>
                </c:pt>
                <c:pt idx="1621">
                  <c:v>1.1860699499908756E-2</c:v>
                </c:pt>
                <c:pt idx="1622">
                  <c:v>1.4663417188551464E-2</c:v>
                </c:pt>
                <c:pt idx="1623">
                  <c:v>-4.5830271357687469E-3</c:v>
                </c:pt>
                <c:pt idx="1624">
                  <c:v>-5.5931894728795672E-3</c:v>
                </c:pt>
                <c:pt idx="1625">
                  <c:v>-1.864504914008247E-3</c:v>
                </c:pt>
                <c:pt idx="1626">
                  <c:v>-1.7918617762113564E-2</c:v>
                </c:pt>
                <c:pt idx="1627">
                  <c:v>-1.4484027125973409E-2</c:v>
                </c:pt>
                <c:pt idx="1628">
                  <c:v>-1.0407508301069623E-2</c:v>
                </c:pt>
                <c:pt idx="1629">
                  <c:v>-8.4589184173540222E-3</c:v>
                </c:pt>
                <c:pt idx="1630">
                  <c:v>-9.2543704990415421E-3</c:v>
                </c:pt>
                <c:pt idx="1631">
                  <c:v>-6.3942996540645725E-3</c:v>
                </c:pt>
                <c:pt idx="1632">
                  <c:v>-8.593657709467184E-3</c:v>
                </c:pt>
                <c:pt idx="1633">
                  <c:v>-1.0974779668809109E-2</c:v>
                </c:pt>
                <c:pt idx="1634">
                  <c:v>-1.1581103184753361E-2</c:v>
                </c:pt>
                <c:pt idx="1635">
                  <c:v>7.3192465206650681E-5</c:v>
                </c:pt>
                <c:pt idx="1636">
                  <c:v>-9.6531623302631431E-4</c:v>
                </c:pt>
                <c:pt idx="1637">
                  <c:v>-1.1655710900726479E-4</c:v>
                </c:pt>
                <c:pt idx="1638">
                  <c:v>-1.2930738969555433E-3</c:v>
                </c:pt>
                <c:pt idx="1639">
                  <c:v>-4.8473635932477777E-3</c:v>
                </c:pt>
                <c:pt idx="1640">
                  <c:v>-9.4577285376298281E-3</c:v>
                </c:pt>
                <c:pt idx="1641">
                  <c:v>-1.8388149333517734E-2</c:v>
                </c:pt>
                <c:pt idx="1642">
                  <c:v>-2.5371190639815522E-2</c:v>
                </c:pt>
                <c:pt idx="1643">
                  <c:v>-2.9425943588961001E-2</c:v>
                </c:pt>
                <c:pt idx="1644">
                  <c:v>-3.5899094173899582E-2</c:v>
                </c:pt>
                <c:pt idx="1645">
                  <c:v>-5.1631630620735502E-2</c:v>
                </c:pt>
                <c:pt idx="1646">
                  <c:v>-5.4005823742838133E-2</c:v>
                </c:pt>
                <c:pt idx="1647">
                  <c:v>-6.2264453514441542E-2</c:v>
                </c:pt>
                <c:pt idx="1648">
                  <c:v>-6.1815117660353081E-2</c:v>
                </c:pt>
                <c:pt idx="1649">
                  <c:v>-6.2423640119453561E-2</c:v>
                </c:pt>
                <c:pt idx="1650">
                  <c:v>-6.5080191204216487E-2</c:v>
                </c:pt>
                <c:pt idx="1651">
                  <c:v>-7.4575548300987005E-2</c:v>
                </c:pt>
                <c:pt idx="1652">
                  <c:v>-7.9568966019020082E-2</c:v>
                </c:pt>
                <c:pt idx="1653">
                  <c:v>-7.4139023130000314E-2</c:v>
                </c:pt>
                <c:pt idx="1654">
                  <c:v>-6.5455954620419865E-2</c:v>
                </c:pt>
                <c:pt idx="1655">
                  <c:v>-6.7670510756016711E-2</c:v>
                </c:pt>
                <c:pt idx="1656">
                  <c:v>-5.2763411932753801E-2</c:v>
                </c:pt>
                <c:pt idx="1657">
                  <c:v>-5.2695850848949455E-2</c:v>
                </c:pt>
                <c:pt idx="1658">
                  <c:v>-4.6387104011119118E-2</c:v>
                </c:pt>
                <c:pt idx="1659">
                  <c:v>-4.7332823136413738E-2</c:v>
                </c:pt>
                <c:pt idx="1660">
                  <c:v>-4.9772152225014632E-2</c:v>
                </c:pt>
                <c:pt idx="1661">
                  <c:v>-4.5666401856614303E-2</c:v>
                </c:pt>
                <c:pt idx="1662">
                  <c:v>-5.0104565253316635E-2</c:v>
                </c:pt>
                <c:pt idx="1663">
                  <c:v>-4.9787531846809174E-2</c:v>
                </c:pt>
                <c:pt idx="1664">
                  <c:v>-4.4075810884913524E-2</c:v>
                </c:pt>
                <c:pt idx="1665">
                  <c:v>-5.1239181599894712E-2</c:v>
                </c:pt>
                <c:pt idx="1666">
                  <c:v>-4.2434305933338301E-2</c:v>
                </c:pt>
                <c:pt idx="1667">
                  <c:v>-4.6116827632911805E-2</c:v>
                </c:pt>
                <c:pt idx="1668">
                  <c:v>-4.1726750289065806E-2</c:v>
                </c:pt>
                <c:pt idx="1669">
                  <c:v>-4.4126328200959852E-2</c:v>
                </c:pt>
                <c:pt idx="1670">
                  <c:v>-4.2779811019731495E-2</c:v>
                </c:pt>
                <c:pt idx="1671">
                  <c:v>-4.9455354031058163E-2</c:v>
                </c:pt>
                <c:pt idx="1672">
                  <c:v>-4.8434680657336138E-2</c:v>
                </c:pt>
                <c:pt idx="1673">
                  <c:v>-5.24053095762681E-2</c:v>
                </c:pt>
                <c:pt idx="1674">
                  <c:v>-4.9110869024495907E-2</c:v>
                </c:pt>
                <c:pt idx="1675">
                  <c:v>-3.3940425397237295E-2</c:v>
                </c:pt>
                <c:pt idx="1676">
                  <c:v>-3.040778687035306E-2</c:v>
                </c:pt>
                <c:pt idx="1677">
                  <c:v>-2.866262149270371E-2</c:v>
                </c:pt>
                <c:pt idx="1678">
                  <c:v>-2.3163235503785184E-2</c:v>
                </c:pt>
                <c:pt idx="1679">
                  <c:v>-2.023893495780027E-2</c:v>
                </c:pt>
                <c:pt idx="1680">
                  <c:v>-1.8721650859182315E-2</c:v>
                </c:pt>
                <c:pt idx="1681">
                  <c:v>-1.0477475989738472E-2</c:v>
                </c:pt>
                <c:pt idx="1682">
                  <c:v>-8.2376072156488123E-3</c:v>
                </c:pt>
                <c:pt idx="1683">
                  <c:v>-5.3060274920602168E-3</c:v>
                </c:pt>
                <c:pt idx="1684">
                  <c:v>-7.6261684642183747E-3</c:v>
                </c:pt>
                <c:pt idx="1685">
                  <c:v>-1.8400769382027948E-2</c:v>
                </c:pt>
                <c:pt idx="1686">
                  <c:v>-2.4819794679777019E-2</c:v>
                </c:pt>
                <c:pt idx="1687">
                  <c:v>-2.4507512493589401E-2</c:v>
                </c:pt>
                <c:pt idx="1688">
                  <c:v>-2.616056097356112E-2</c:v>
                </c:pt>
                <c:pt idx="1689">
                  <c:v>-3.349663895239241E-2</c:v>
                </c:pt>
                <c:pt idx="1690">
                  <c:v>-2.8767548000640075E-2</c:v>
                </c:pt>
                <c:pt idx="1691">
                  <c:v>-2.6602121223291308E-2</c:v>
                </c:pt>
                <c:pt idx="1692">
                  <c:v>-3.4375315914679128E-2</c:v>
                </c:pt>
                <c:pt idx="1693">
                  <c:v>-3.1761504854366684E-2</c:v>
                </c:pt>
                <c:pt idx="1694">
                  <c:v>-2.7861041788990515E-2</c:v>
                </c:pt>
                <c:pt idx="1695">
                  <c:v>-2.7295504186747532E-2</c:v>
                </c:pt>
                <c:pt idx="1696">
                  <c:v>-2.4769020987880364E-2</c:v>
                </c:pt>
                <c:pt idx="1697">
                  <c:v>-2.3246650038531547E-2</c:v>
                </c:pt>
                <c:pt idx="1698">
                  <c:v>-2.3769756434891542E-2</c:v>
                </c:pt>
                <c:pt idx="1699">
                  <c:v>-2.5079848114725856E-2</c:v>
                </c:pt>
                <c:pt idx="1700">
                  <c:v>2.1081935439737909E-2</c:v>
                </c:pt>
                <c:pt idx="1701">
                  <c:v>-1.9989017484997262E-2</c:v>
                </c:pt>
                <c:pt idx="1702">
                  <c:v>-1.0290535450480309E-2</c:v>
                </c:pt>
                <c:pt idx="1703">
                  <c:v>8.6087193197401657E-3</c:v>
                </c:pt>
                <c:pt idx="1704">
                  <c:v>4.4116838925996049E-2</c:v>
                </c:pt>
                <c:pt idx="1705">
                  <c:v>2.2702902535968073E-2</c:v>
                </c:pt>
                <c:pt idx="1706">
                  <c:v>3.2322845397590783E-2</c:v>
                </c:pt>
                <c:pt idx="1707">
                  <c:v>3.2701144145772298E-2</c:v>
                </c:pt>
                <c:pt idx="1708">
                  <c:v>6.5692883713362127E-2</c:v>
                </c:pt>
                <c:pt idx="1709">
                  <c:v>7.248883660583183E-2</c:v>
                </c:pt>
                <c:pt idx="1710">
                  <c:v>7.1022007871718973E-2</c:v>
                </c:pt>
                <c:pt idx="1711">
                  <c:v>7.1435257309571676E-2</c:v>
                </c:pt>
                <c:pt idx="1712">
                  <c:v>0.10575317194135037</c:v>
                </c:pt>
                <c:pt idx="1713">
                  <c:v>0.10713324851148331</c:v>
                </c:pt>
                <c:pt idx="1714">
                  <c:v>0.12298393217955861</c:v>
                </c:pt>
                <c:pt idx="1715">
                  <c:v>0.12883800037640114</c:v>
                </c:pt>
                <c:pt idx="1716">
                  <c:v>0.12308878809303903</c:v>
                </c:pt>
                <c:pt idx="1717">
                  <c:v>0.11965543784582766</c:v>
                </c:pt>
                <c:pt idx="1718">
                  <c:v>0.11928549619016837</c:v>
                </c:pt>
                <c:pt idx="1719">
                  <c:v>0.1006790332658688</c:v>
                </c:pt>
                <c:pt idx="1720">
                  <c:v>0.10174534155572346</c:v>
                </c:pt>
                <c:pt idx="1721">
                  <c:v>0.10054825114343879</c:v>
                </c:pt>
                <c:pt idx="1722">
                  <c:v>7.8582795418012497E-2</c:v>
                </c:pt>
                <c:pt idx="1723">
                  <c:v>0.10797574181046088</c:v>
                </c:pt>
                <c:pt idx="1724">
                  <c:v>0.10697173473101396</c:v>
                </c:pt>
                <c:pt idx="1725">
                  <c:v>0.11515847750370967</c:v>
                </c:pt>
                <c:pt idx="1726">
                  <c:v>8.4654573283091117E-2</c:v>
                </c:pt>
                <c:pt idx="1727">
                  <c:v>7.7064162070220155E-2</c:v>
                </c:pt>
                <c:pt idx="1728">
                  <c:v>7.6686205861279388E-2</c:v>
                </c:pt>
                <c:pt idx="1729">
                  <c:v>3.9596302872223599E-2</c:v>
                </c:pt>
                <c:pt idx="1730">
                  <c:v>3.2285016231255681E-2</c:v>
                </c:pt>
                <c:pt idx="1731">
                  <c:v>2.4149850427792163E-2</c:v>
                </c:pt>
                <c:pt idx="1732">
                  <c:v>2.5626227515351263E-2</c:v>
                </c:pt>
                <c:pt idx="1733">
                  <c:v>4.464079469091331E-3</c:v>
                </c:pt>
                <c:pt idx="1734">
                  <c:v>3.58853511178715E-2</c:v>
                </c:pt>
                <c:pt idx="1735">
                  <c:v>5.8608865888224615E-2</c:v>
                </c:pt>
                <c:pt idx="1736">
                  <c:v>4.9881542254048339E-2</c:v>
                </c:pt>
                <c:pt idx="1737">
                  <c:v>2.373010321756408E-2</c:v>
                </c:pt>
                <c:pt idx="1738">
                  <c:v>1.3234965167564283E-2</c:v>
                </c:pt>
                <c:pt idx="1739">
                  <c:v>9.8363033121383614E-3</c:v>
                </c:pt>
                <c:pt idx="1740">
                  <c:v>1.8891177525394265E-2</c:v>
                </c:pt>
                <c:pt idx="1741">
                  <c:v>7.7359228069906472E-3</c:v>
                </c:pt>
                <c:pt idx="1742">
                  <c:v>9.9665010963042588E-3</c:v>
                </c:pt>
                <c:pt idx="1743">
                  <c:v>-4.2470362641601755E-2</c:v>
                </c:pt>
                <c:pt idx="1744">
                  <c:v>-3.2613585573185278E-2</c:v>
                </c:pt>
                <c:pt idx="1745">
                  <c:v>-1.2788764416394538E-2</c:v>
                </c:pt>
                <c:pt idx="1746">
                  <c:v>-1.8196384372078933E-3</c:v>
                </c:pt>
                <c:pt idx="1747">
                  <c:v>-4.4015341043552869E-3</c:v>
                </c:pt>
                <c:pt idx="1748">
                  <c:v>1.8346604366624164E-2</c:v>
                </c:pt>
                <c:pt idx="1749">
                  <c:v>2.7862675099432188E-2</c:v>
                </c:pt>
                <c:pt idx="1750">
                  <c:v>4.3863618309404218E-2</c:v>
                </c:pt>
                <c:pt idx="1751">
                  <c:v>4.4128292384163936E-2</c:v>
                </c:pt>
                <c:pt idx="1752">
                  <c:v>5.4927024420567294E-2</c:v>
                </c:pt>
                <c:pt idx="1753">
                  <c:v>5.2404699008563371E-2</c:v>
                </c:pt>
                <c:pt idx="1754">
                  <c:v>5.4425456863950505E-2</c:v>
                </c:pt>
                <c:pt idx="1755">
                  <c:v>5.3372026570825737E-2</c:v>
                </c:pt>
                <c:pt idx="1756">
                  <c:v>5.9624412856798092E-2</c:v>
                </c:pt>
                <c:pt idx="1757">
                  <c:v>3.1485315850637408E-2</c:v>
                </c:pt>
                <c:pt idx="1758">
                  <c:v>1.8595075674063932E-2</c:v>
                </c:pt>
                <c:pt idx="1759">
                  <c:v>-1.1974869454067227E-2</c:v>
                </c:pt>
                <c:pt idx="1760">
                  <c:v>6.27114087322167E-3</c:v>
                </c:pt>
                <c:pt idx="1761">
                  <c:v>1.4344355652424978E-2</c:v>
                </c:pt>
                <c:pt idx="1762">
                  <c:v>2.3760166182458242E-2</c:v>
                </c:pt>
                <c:pt idx="1763">
                  <c:v>2.230582285082261E-2</c:v>
                </c:pt>
                <c:pt idx="1764">
                  <c:v>2.4290606563978967E-2</c:v>
                </c:pt>
                <c:pt idx="1765">
                  <c:v>1.0377347047193286E-2</c:v>
                </c:pt>
                <c:pt idx="1766">
                  <c:v>2.6693776680654091E-3</c:v>
                </c:pt>
                <c:pt idx="1767">
                  <c:v>-8.5667850556214731E-4</c:v>
                </c:pt>
                <c:pt idx="1768">
                  <c:v>-2.6572001120967692E-2</c:v>
                </c:pt>
                <c:pt idx="1769">
                  <c:v>6.1283387511386067E-3</c:v>
                </c:pt>
                <c:pt idx="1770">
                  <c:v>5.6625175471534117E-3</c:v>
                </c:pt>
                <c:pt idx="1771">
                  <c:v>3.506661943078726E-2</c:v>
                </c:pt>
                <c:pt idx="1772">
                  <c:v>-1.1054603905757965E-2</c:v>
                </c:pt>
                <c:pt idx="1773">
                  <c:v>-1.4810827180518182E-2</c:v>
                </c:pt>
                <c:pt idx="1774">
                  <c:v>-6.8811300667930286E-3</c:v>
                </c:pt>
                <c:pt idx="1775">
                  <c:v>-1.0261600572193053E-2</c:v>
                </c:pt>
                <c:pt idx="1776">
                  <c:v>2.2245084739647147E-4</c:v>
                </c:pt>
                <c:pt idx="1777">
                  <c:v>-2.3762196086685172E-3</c:v>
                </c:pt>
                <c:pt idx="1778">
                  <c:v>-9.3869392499627002E-3</c:v>
                </c:pt>
                <c:pt idx="1779">
                  <c:v>1.3327217362989918E-2</c:v>
                </c:pt>
                <c:pt idx="1780">
                  <c:v>-5.7882510923301655E-3</c:v>
                </c:pt>
                <c:pt idx="1781">
                  <c:v>-6.744119280410299E-3</c:v>
                </c:pt>
                <c:pt idx="1782">
                  <c:v>-1.0714612012448277E-2</c:v>
                </c:pt>
                <c:pt idx="1783">
                  <c:v>-1.9231027718948579E-2</c:v>
                </c:pt>
                <c:pt idx="1784">
                  <c:v>-9.4343545290184183E-3</c:v>
                </c:pt>
                <c:pt idx="1785">
                  <c:v>-6.0977184802396556E-3</c:v>
                </c:pt>
                <c:pt idx="1786">
                  <c:v>-5.9204006068267478E-3</c:v>
                </c:pt>
                <c:pt idx="1787">
                  <c:v>5.64647776210081E-3</c:v>
                </c:pt>
                <c:pt idx="1788">
                  <c:v>4.7184854272042109E-3</c:v>
                </c:pt>
                <c:pt idx="1789">
                  <c:v>-5.4490586436308774E-3</c:v>
                </c:pt>
                <c:pt idx="1790">
                  <c:v>1.1477228283018892E-4</c:v>
                </c:pt>
                <c:pt idx="1791">
                  <c:v>-4.4638263020102542E-4</c:v>
                </c:pt>
                <c:pt idx="1792">
                  <c:v>3.1719163347417867E-3</c:v>
                </c:pt>
                <c:pt idx="1793">
                  <c:v>1.24944100963299E-2</c:v>
                </c:pt>
                <c:pt idx="1794">
                  <c:v>2.0104071890689856E-2</c:v>
                </c:pt>
                <c:pt idx="1795">
                  <c:v>1.7439385963178178E-2</c:v>
                </c:pt>
                <c:pt idx="1796">
                  <c:v>6.7300886876769939E-3</c:v>
                </c:pt>
                <c:pt idx="1797">
                  <c:v>1.174897468588787E-2</c:v>
                </c:pt>
                <c:pt idx="1798">
                  <c:v>9.90742701182179E-3</c:v>
                </c:pt>
                <c:pt idx="1799">
                  <c:v>1.3248098917367002E-2</c:v>
                </c:pt>
                <c:pt idx="1800">
                  <c:v>5.5388205571581528E-3</c:v>
                </c:pt>
                <c:pt idx="1801">
                  <c:v>3.9194052727061779E-3</c:v>
                </c:pt>
                <c:pt idx="1802">
                  <c:v>9.3287775498694936E-3</c:v>
                </c:pt>
                <c:pt idx="1803">
                  <c:v>1.0548613549036245E-2</c:v>
                </c:pt>
                <c:pt idx="1804">
                  <c:v>2.5311811572188425E-3</c:v>
                </c:pt>
                <c:pt idx="1805">
                  <c:v>4.7521175941195315E-3</c:v>
                </c:pt>
                <c:pt idx="1806">
                  <c:v>1.1216301234096004E-4</c:v>
                </c:pt>
                <c:pt idx="1807">
                  <c:v>4.3470904257882914E-3</c:v>
                </c:pt>
                <c:pt idx="1808">
                  <c:v>1.5601184102744581E-2</c:v>
                </c:pt>
                <c:pt idx="1809">
                  <c:v>2.7059534568004695E-3</c:v>
                </c:pt>
                <c:pt idx="1810">
                  <c:v>1.5090015478013252E-2</c:v>
                </c:pt>
                <c:pt idx="1811">
                  <c:v>7.3907082366287957E-3</c:v>
                </c:pt>
                <c:pt idx="1812">
                  <c:v>3.8650557552781795E-3</c:v>
                </c:pt>
                <c:pt idx="1813">
                  <c:v>9.8259196556084172E-3</c:v>
                </c:pt>
                <c:pt idx="1814">
                  <c:v>-1.0523043845391822E-3</c:v>
                </c:pt>
                <c:pt idx="1815">
                  <c:v>-3.5659693746022958E-3</c:v>
                </c:pt>
                <c:pt idx="1816">
                  <c:v>-5.5810589302950353E-3</c:v>
                </c:pt>
                <c:pt idx="1817">
                  <c:v>-1.1265918064449543E-2</c:v>
                </c:pt>
                <c:pt idx="1818">
                  <c:v>-1.77206619368111E-2</c:v>
                </c:pt>
                <c:pt idx="1819">
                  <c:v>-9.3765244108450219E-3</c:v>
                </c:pt>
                <c:pt idx="1820">
                  <c:v>-9.2674509420206386E-3</c:v>
                </c:pt>
                <c:pt idx="1821">
                  <c:v>-7.5427035823062427E-3</c:v>
                </c:pt>
                <c:pt idx="1822">
                  <c:v>-3.9425086724621528E-3</c:v>
                </c:pt>
                <c:pt idx="1823">
                  <c:v>-1.8151074560466163E-2</c:v>
                </c:pt>
                <c:pt idx="1824">
                  <c:v>-2.0672812178550548E-2</c:v>
                </c:pt>
                <c:pt idx="1825">
                  <c:v>-3.0972578523798422E-2</c:v>
                </c:pt>
                <c:pt idx="1826">
                  <c:v>-2.8996631614580881E-2</c:v>
                </c:pt>
                <c:pt idx="1827">
                  <c:v>-4.0392597473945857E-2</c:v>
                </c:pt>
                <c:pt idx="1828">
                  <c:v>-4.06375274088977E-2</c:v>
                </c:pt>
                <c:pt idx="1829">
                  <c:v>-4.1878766625350616E-2</c:v>
                </c:pt>
                <c:pt idx="1830">
                  <c:v>-3.5355368406167265E-2</c:v>
                </c:pt>
                <c:pt idx="1831">
                  <c:v>-3.466512436298741E-2</c:v>
                </c:pt>
                <c:pt idx="1832">
                  <c:v>-3.771449795629267E-2</c:v>
                </c:pt>
                <c:pt idx="1833">
                  <c:v>-4.0972801219009924E-2</c:v>
                </c:pt>
                <c:pt idx="1834">
                  <c:v>-3.4353100070318887E-2</c:v>
                </c:pt>
                <c:pt idx="1835">
                  <c:v>-4.2135635264017091E-2</c:v>
                </c:pt>
                <c:pt idx="1836">
                  <c:v>-4.2327838530945017E-2</c:v>
                </c:pt>
                <c:pt idx="1837">
                  <c:v>-4.3555272727366923E-2</c:v>
                </c:pt>
                <c:pt idx="1838">
                  <c:v>-4.6785235278400172E-2</c:v>
                </c:pt>
                <c:pt idx="1839">
                  <c:v>-4.711555501443343E-2</c:v>
                </c:pt>
                <c:pt idx="1840">
                  <c:v>-5.5530359296208309E-2</c:v>
                </c:pt>
                <c:pt idx="1841">
                  <c:v>-4.1698460534394188E-2</c:v>
                </c:pt>
                <c:pt idx="1842">
                  <c:v>-3.4240980865164139E-2</c:v>
                </c:pt>
                <c:pt idx="1843">
                  <c:v>-3.3580886626978002E-2</c:v>
                </c:pt>
                <c:pt idx="1844">
                  <c:v>-2.846760246553981E-2</c:v>
                </c:pt>
                <c:pt idx="1845">
                  <c:v>-2.9530128735272054E-2</c:v>
                </c:pt>
                <c:pt idx="1846">
                  <c:v>-3.0208512215924133E-2</c:v>
                </c:pt>
                <c:pt idx="1847">
                  <c:v>-3.6216309265924784E-2</c:v>
                </c:pt>
                <c:pt idx="1848">
                  <c:v>-2.5780439234693753E-2</c:v>
                </c:pt>
                <c:pt idx="1849">
                  <c:v>-2.3339031668714316E-2</c:v>
                </c:pt>
                <c:pt idx="1850">
                  <c:v>-2.719425347444937E-2</c:v>
                </c:pt>
                <c:pt idx="1851">
                  <c:v>-2.7291237343491592E-2</c:v>
                </c:pt>
                <c:pt idx="1852">
                  <c:v>-2.3861976965755205E-2</c:v>
                </c:pt>
                <c:pt idx="1853">
                  <c:v>-1.5613671747637725E-2</c:v>
                </c:pt>
                <c:pt idx="1854">
                  <c:v>-9.5772287964978053E-3</c:v>
                </c:pt>
                <c:pt idx="1855">
                  <c:v>-4.8156427286663028E-3</c:v>
                </c:pt>
                <c:pt idx="1856">
                  <c:v>-2.4548069475894829E-3</c:v>
                </c:pt>
                <c:pt idx="1857">
                  <c:v>3.8851645308550786E-3</c:v>
                </c:pt>
                <c:pt idx="1858">
                  <c:v>1.1101947152693081E-2</c:v>
                </c:pt>
                <c:pt idx="1859">
                  <c:v>2.0892118069766208E-2</c:v>
                </c:pt>
                <c:pt idx="1860">
                  <c:v>1.6397285998983602E-2</c:v>
                </c:pt>
                <c:pt idx="1861">
                  <c:v>1.3488872178787581E-2</c:v>
                </c:pt>
                <c:pt idx="1862">
                  <c:v>2.4584611941190437E-2</c:v>
                </c:pt>
                <c:pt idx="1863">
                  <c:v>2.9980119231160729E-2</c:v>
                </c:pt>
                <c:pt idx="1864">
                  <c:v>3.6776207866390909E-2</c:v>
                </c:pt>
                <c:pt idx="1865">
                  <c:v>4.0355198209939935E-2</c:v>
                </c:pt>
                <c:pt idx="1866">
                  <c:v>3.8360845944530597E-2</c:v>
                </c:pt>
                <c:pt idx="1867">
                  <c:v>4.3350727331492589E-2</c:v>
                </c:pt>
                <c:pt idx="1868">
                  <c:v>4.2168413831130014E-2</c:v>
                </c:pt>
                <c:pt idx="1869">
                  <c:v>4.3943308628792144E-2</c:v>
                </c:pt>
                <c:pt idx="1870">
                  <c:v>5.0682407100009264E-2</c:v>
                </c:pt>
                <c:pt idx="1871">
                  <c:v>4.9877781519918174E-2</c:v>
                </c:pt>
                <c:pt idx="1872">
                  <c:v>5.103306007276065E-2</c:v>
                </c:pt>
                <c:pt idx="1873">
                  <c:v>5.1713754448786231E-2</c:v>
                </c:pt>
                <c:pt idx="1874">
                  <c:v>5.7754779352646168E-2</c:v>
                </c:pt>
                <c:pt idx="1875">
                  <c:v>4.8116167379448904E-2</c:v>
                </c:pt>
                <c:pt idx="1876">
                  <c:v>5.2421009118252093E-2</c:v>
                </c:pt>
                <c:pt idx="1877">
                  <c:v>4.9493326392646586E-2</c:v>
                </c:pt>
                <c:pt idx="1878">
                  <c:v>4.8929994652059827E-2</c:v>
                </c:pt>
                <c:pt idx="1879">
                  <c:v>4.3512634939750328E-2</c:v>
                </c:pt>
                <c:pt idx="1880">
                  <c:v>4.6465144897774091E-2</c:v>
                </c:pt>
                <c:pt idx="1881">
                  <c:v>3.5896187464846907E-2</c:v>
                </c:pt>
                <c:pt idx="1882">
                  <c:v>3.4877623775406708E-2</c:v>
                </c:pt>
                <c:pt idx="1883">
                  <c:v>3.031538672552303E-2</c:v>
                </c:pt>
                <c:pt idx="1884">
                  <c:v>3.2011125993084755E-2</c:v>
                </c:pt>
                <c:pt idx="1885">
                  <c:v>3.3832878644845077E-2</c:v>
                </c:pt>
                <c:pt idx="1886">
                  <c:v>3.6075960907495541E-2</c:v>
                </c:pt>
                <c:pt idx="1887">
                  <c:v>3.6466558989535991E-2</c:v>
                </c:pt>
                <c:pt idx="1888">
                  <c:v>3.3452014454963153E-2</c:v>
                </c:pt>
                <c:pt idx="1889">
                  <c:v>4.3212241590159572E-2</c:v>
                </c:pt>
                <c:pt idx="1890">
                  <c:v>5.9793723038858548E-2</c:v>
                </c:pt>
                <c:pt idx="1891">
                  <c:v>-9.0893288333824263E-3</c:v>
                </c:pt>
                <c:pt idx="1892">
                  <c:v>-5.8589850765805918E-2</c:v>
                </c:pt>
                <c:pt idx="1893">
                  <c:v>-9.8759393375789761E-2</c:v>
                </c:pt>
                <c:pt idx="1894">
                  <c:v>-0.1225092541004581</c:v>
                </c:pt>
                <c:pt idx="1895">
                  <c:v>-0.13251197271491988</c:v>
                </c:pt>
                <c:pt idx="1896">
                  <c:v>-6.6919517476476398E-2</c:v>
                </c:pt>
                <c:pt idx="1897">
                  <c:v>-9.909553192073417E-2</c:v>
                </c:pt>
                <c:pt idx="1898">
                  <c:v>-0.12019984736407086</c:v>
                </c:pt>
                <c:pt idx="1899">
                  <c:v>-0.10559844355241055</c:v>
                </c:pt>
                <c:pt idx="1900">
                  <c:v>-5.6725361928728901E-2</c:v>
                </c:pt>
                <c:pt idx="1901">
                  <c:v>-6.543986764958365E-2</c:v>
                </c:pt>
                <c:pt idx="1902">
                  <c:v>-6.1309025530717043E-2</c:v>
                </c:pt>
                <c:pt idx="1903">
                  <c:v>-8.7610310419184878E-2</c:v>
                </c:pt>
                <c:pt idx="1904">
                  <c:v>-9.8942667282287067E-2</c:v>
                </c:pt>
                <c:pt idx="1905">
                  <c:v>-0.10040466277680471</c:v>
                </c:pt>
                <c:pt idx="1906">
                  <c:v>-5.5369251469234992E-2</c:v>
                </c:pt>
                <c:pt idx="1907">
                  <c:v>-4.9259200185178709E-2</c:v>
                </c:pt>
                <c:pt idx="1908">
                  <c:v>-7.5730826073032609E-2</c:v>
                </c:pt>
                <c:pt idx="1909">
                  <c:v>-6.1174200261446265E-2</c:v>
                </c:pt>
                <c:pt idx="1910">
                  <c:v>-6.1210872222745016E-2</c:v>
                </c:pt>
                <c:pt idx="1911">
                  <c:v>-1.5369279591445628E-2</c:v>
                </c:pt>
                <c:pt idx="1912">
                  <c:v>2.6746981470079367E-3</c:v>
                </c:pt>
                <c:pt idx="1913">
                  <c:v>1.5101779980867258E-2</c:v>
                </c:pt>
                <c:pt idx="1914">
                  <c:v>-1.2110727951779587E-3</c:v>
                </c:pt>
                <c:pt idx="1915">
                  <c:v>8.0472347207560802E-4</c:v>
                </c:pt>
                <c:pt idx="1916">
                  <c:v>-1.3311121690123939E-2</c:v>
                </c:pt>
                <c:pt idx="1917">
                  <c:v>1.6267619553163026E-2</c:v>
                </c:pt>
                <c:pt idx="1918">
                  <c:v>1.440066917078231E-2</c:v>
                </c:pt>
                <c:pt idx="1919">
                  <c:v>5.2794388390848823E-2</c:v>
                </c:pt>
                <c:pt idx="1920">
                  <c:v>6.2183858660819713E-2</c:v>
                </c:pt>
                <c:pt idx="1921">
                  <c:v>4.4414280498767333E-2</c:v>
                </c:pt>
                <c:pt idx="1922">
                  <c:v>5.3373980036324153E-2</c:v>
                </c:pt>
                <c:pt idx="1923">
                  <c:v>6.4725830800120621E-2</c:v>
                </c:pt>
                <c:pt idx="1924">
                  <c:v>3.2003439731397187E-2</c:v>
                </c:pt>
                <c:pt idx="1925">
                  <c:v>5.3783608409376349E-2</c:v>
                </c:pt>
                <c:pt idx="1926">
                  <c:v>3.5330186535369346E-2</c:v>
                </c:pt>
                <c:pt idx="1927">
                  <c:v>2.2299152338969397E-2</c:v>
                </c:pt>
                <c:pt idx="1928">
                  <c:v>1.0693883053892628E-2</c:v>
                </c:pt>
                <c:pt idx="1929">
                  <c:v>2.1489923994449045E-2</c:v>
                </c:pt>
                <c:pt idx="1930">
                  <c:v>6.6922597509915249E-3</c:v>
                </c:pt>
                <c:pt idx="1931">
                  <c:v>-5.6976843749357409E-2</c:v>
                </c:pt>
                <c:pt idx="1932">
                  <c:v>-3.095948244421487E-2</c:v>
                </c:pt>
                <c:pt idx="1933">
                  <c:v>-1.6687343861590986E-2</c:v>
                </c:pt>
                <c:pt idx="1934">
                  <c:v>-1.3055886511819992E-2</c:v>
                </c:pt>
                <c:pt idx="1935">
                  <c:v>-1.9892824437868217E-3</c:v>
                </c:pt>
                <c:pt idx="1936">
                  <c:v>-2.4159691520718063E-2</c:v>
                </c:pt>
                <c:pt idx="1937">
                  <c:v>-2.0023683430219541E-2</c:v>
                </c:pt>
                <c:pt idx="1938">
                  <c:v>9.6780182286676508E-3</c:v>
                </c:pt>
                <c:pt idx="1939">
                  <c:v>2.9029212522821424E-2</c:v>
                </c:pt>
                <c:pt idx="1940">
                  <c:v>4.6821380198239448E-2</c:v>
                </c:pt>
                <c:pt idx="1941">
                  <c:v>3.9156265294054804E-2</c:v>
                </c:pt>
                <c:pt idx="1942">
                  <c:v>4.0754286538102091E-2</c:v>
                </c:pt>
                <c:pt idx="1943">
                  <c:v>3.4876990234482319E-2</c:v>
                </c:pt>
                <c:pt idx="1944">
                  <c:v>4.1507182071947701E-2</c:v>
                </c:pt>
                <c:pt idx="1945">
                  <c:v>8.0239407365922388E-2</c:v>
                </c:pt>
                <c:pt idx="1946">
                  <c:v>0.11257315987853811</c:v>
                </c:pt>
                <c:pt idx="1947">
                  <c:v>0.13001181559472752</c:v>
                </c:pt>
                <c:pt idx="1948">
                  <c:v>0.14110850392107022</c:v>
                </c:pt>
                <c:pt idx="1949">
                  <c:v>0.10354854314032569</c:v>
                </c:pt>
                <c:pt idx="1950">
                  <c:v>0.10983153756923236</c:v>
                </c:pt>
                <c:pt idx="1951">
                  <c:v>0.11492826858915872</c:v>
                </c:pt>
                <c:pt idx="1952">
                  <c:v>7.4080308397175498E-2</c:v>
                </c:pt>
                <c:pt idx="1953">
                  <c:v>0.11441818777718094</c:v>
                </c:pt>
                <c:pt idx="1954">
                  <c:v>5.2063435844130979E-2</c:v>
                </c:pt>
                <c:pt idx="1955">
                  <c:v>5.6876663572906105E-2</c:v>
                </c:pt>
                <c:pt idx="1956">
                  <c:v>5.1780729525662927E-2</c:v>
                </c:pt>
                <c:pt idx="1957">
                  <c:v>6.9357701435599495E-3</c:v>
                </c:pt>
                <c:pt idx="1958">
                  <c:v>-3.9893585599987791E-2</c:v>
                </c:pt>
                <c:pt idx="1959">
                  <c:v>-8.3173364037007702E-2</c:v>
                </c:pt>
                <c:pt idx="1960">
                  <c:v>-3.4099553711667951E-2</c:v>
                </c:pt>
                <c:pt idx="1961">
                  <c:v>-4.4905621553427144E-3</c:v>
                </c:pt>
                <c:pt idx="1962">
                  <c:v>-3.8088408789619388E-3</c:v>
                </c:pt>
                <c:pt idx="1963">
                  <c:v>-1.4845218131708693E-2</c:v>
                </c:pt>
                <c:pt idx="1964">
                  <c:v>-2.3969242851815675E-3</c:v>
                </c:pt>
                <c:pt idx="1965">
                  <c:v>6.0979477384867087E-3</c:v>
                </c:pt>
                <c:pt idx="1966">
                  <c:v>1.1200095579643188E-3</c:v>
                </c:pt>
                <c:pt idx="1967">
                  <c:v>1.0596000014373441E-3</c:v>
                </c:pt>
                <c:pt idx="1968">
                  <c:v>-3.2874405973608578E-3</c:v>
                </c:pt>
                <c:pt idx="1969">
                  <c:v>-3.6961871684665359E-3</c:v>
                </c:pt>
                <c:pt idx="1970">
                  <c:v>-4.4091271525389386E-3</c:v>
                </c:pt>
                <c:pt idx="1971">
                  <c:v>-3.770900062004312E-3</c:v>
                </c:pt>
                <c:pt idx="1972">
                  <c:v>-1.0307522241301825E-3</c:v>
                </c:pt>
                <c:pt idx="1973">
                  <c:v>-7.5890815013118784E-3</c:v>
                </c:pt>
                <c:pt idx="1974">
                  <c:v>-1.0696116253161803E-2</c:v>
                </c:pt>
                <c:pt idx="1975">
                  <c:v>-2.4017978249869176E-2</c:v>
                </c:pt>
                <c:pt idx="1976">
                  <c:v>-2.0386910995534246E-2</c:v>
                </c:pt>
                <c:pt idx="1977">
                  <c:v>-2.2545244801081554E-2</c:v>
                </c:pt>
                <c:pt idx="1978">
                  <c:v>-2.0973558941882242E-2</c:v>
                </c:pt>
                <c:pt idx="1979">
                  <c:v>-1.7447153636441781E-2</c:v>
                </c:pt>
                <c:pt idx="1980">
                  <c:v>-1.1549122975797355E-2</c:v>
                </c:pt>
                <c:pt idx="1981">
                  <c:v>-1.1896903213594823E-2</c:v>
                </c:pt>
                <c:pt idx="1982">
                  <c:v>-8.5353549238090798E-3</c:v>
                </c:pt>
                <c:pt idx="1983">
                  <c:v>-1.2383021332496802E-2</c:v>
                </c:pt>
                <c:pt idx="1984">
                  <c:v>-1.5756070119009591E-3</c:v>
                </c:pt>
                <c:pt idx="1985">
                  <c:v>9.2747645205171203E-5</c:v>
                </c:pt>
                <c:pt idx="1986">
                  <c:v>-1.1714428641042773E-2</c:v>
                </c:pt>
                <c:pt idx="1987">
                  <c:v>-2.6729705304281426E-3</c:v>
                </c:pt>
                <c:pt idx="1988">
                  <c:v>-8.831533269928471E-4</c:v>
                </c:pt>
                <c:pt idx="1989">
                  <c:v>-2.4810584519703305E-3</c:v>
                </c:pt>
                <c:pt idx="1990">
                  <c:v>2.3679666372086183E-3</c:v>
                </c:pt>
                <c:pt idx="1991">
                  <c:v>2.8421156432443251E-3</c:v>
                </c:pt>
                <c:pt idx="1992">
                  <c:v>-1.2332334658742283E-3</c:v>
                </c:pt>
                <c:pt idx="1993">
                  <c:v>6.9417239583632329E-3</c:v>
                </c:pt>
                <c:pt idx="1994">
                  <c:v>-6.2831456638190453E-3</c:v>
                </c:pt>
                <c:pt idx="1995">
                  <c:v>-1.5911984257774958E-2</c:v>
                </c:pt>
                <c:pt idx="1996">
                  <c:v>-1.1533127445103708E-2</c:v>
                </c:pt>
                <c:pt idx="1997">
                  <c:v>-3.75318057439189E-3</c:v>
                </c:pt>
                <c:pt idx="1998">
                  <c:v>-5.6958981014904042E-3</c:v>
                </c:pt>
                <c:pt idx="1999">
                  <c:v>-1.4311832507735933E-2</c:v>
                </c:pt>
                <c:pt idx="2000">
                  <c:v>-1.717568192926533E-2</c:v>
                </c:pt>
                <c:pt idx="2001">
                  <c:v>-2.1855013242743859E-2</c:v>
                </c:pt>
                <c:pt idx="2002">
                  <c:v>-2.2159335633168409E-2</c:v>
                </c:pt>
                <c:pt idx="2003">
                  <c:v>-1.4836872210460816E-2</c:v>
                </c:pt>
                <c:pt idx="2004">
                  <c:v>-1.2220935271024747E-2</c:v>
                </c:pt>
                <c:pt idx="2005">
                  <c:v>-5.1400800455436713E-3</c:v>
                </c:pt>
                <c:pt idx="2006">
                  <c:v>-3.182346277387671E-3</c:v>
                </c:pt>
                <c:pt idx="2007">
                  <c:v>-5.7960152190017489E-4</c:v>
                </c:pt>
                <c:pt idx="2008">
                  <c:v>-1.1743182506868122E-3</c:v>
                </c:pt>
                <c:pt idx="2009">
                  <c:v>-2.1675334301859417E-3</c:v>
                </c:pt>
                <c:pt idx="2010">
                  <c:v>-4.6096278478758856E-3</c:v>
                </c:pt>
                <c:pt idx="2011">
                  <c:v>5.4961821423837875E-5</c:v>
                </c:pt>
                <c:pt idx="2012">
                  <c:v>3.9078497566114034E-4</c:v>
                </c:pt>
                <c:pt idx="2013">
                  <c:v>6.9635377089622974E-3</c:v>
                </c:pt>
                <c:pt idx="2014">
                  <c:v>1.0195210595283388E-2</c:v>
                </c:pt>
                <c:pt idx="2015">
                  <c:v>1.0174324497950638E-2</c:v>
                </c:pt>
                <c:pt idx="2016">
                  <c:v>2.0821689822133171E-2</c:v>
                </c:pt>
                <c:pt idx="2017">
                  <c:v>2.9161745324800536E-2</c:v>
                </c:pt>
                <c:pt idx="2018">
                  <c:v>3.0208828214746575E-2</c:v>
                </c:pt>
                <c:pt idx="2019">
                  <c:v>3.129163870751972E-2</c:v>
                </c:pt>
                <c:pt idx="2020">
                  <c:v>2.2625161740962296E-2</c:v>
                </c:pt>
                <c:pt idx="2021">
                  <c:v>2.6204432301981995E-2</c:v>
                </c:pt>
                <c:pt idx="2022">
                  <c:v>2.3256010591080623E-2</c:v>
                </c:pt>
                <c:pt idx="2023">
                  <c:v>6.495677295528135E-3</c:v>
                </c:pt>
                <c:pt idx="2024">
                  <c:v>2.4056849889550258E-2</c:v>
                </c:pt>
                <c:pt idx="2025">
                  <c:v>3.0635451317841733E-2</c:v>
                </c:pt>
                <c:pt idx="2026">
                  <c:v>3.3040290411702422E-2</c:v>
                </c:pt>
                <c:pt idx="2027">
                  <c:v>1.6406784312555045E-2</c:v>
                </c:pt>
                <c:pt idx="2028">
                  <c:v>2.2744855585522306E-2</c:v>
                </c:pt>
                <c:pt idx="2029">
                  <c:v>3.5224927529848293E-2</c:v>
                </c:pt>
                <c:pt idx="2030">
                  <c:v>4.0464316060469185E-2</c:v>
                </c:pt>
                <c:pt idx="2031">
                  <c:v>3.8937974786854901E-2</c:v>
                </c:pt>
                <c:pt idx="2032">
                  <c:v>3.3570937692237179E-2</c:v>
                </c:pt>
                <c:pt idx="2033">
                  <c:v>2.8579324387169813E-2</c:v>
                </c:pt>
                <c:pt idx="2034">
                  <c:v>1.4458026788673251E-2</c:v>
                </c:pt>
                <c:pt idx="2035">
                  <c:v>2.1642537345868296E-2</c:v>
                </c:pt>
                <c:pt idx="2036">
                  <c:v>1.5222801472095093E-2</c:v>
                </c:pt>
                <c:pt idx="2037">
                  <c:v>-1.725875501307983E-3</c:v>
                </c:pt>
                <c:pt idx="2038">
                  <c:v>7.4828468433663087E-4</c:v>
                </c:pt>
                <c:pt idx="2039">
                  <c:v>-4.3538556719945332E-3</c:v>
                </c:pt>
                <c:pt idx="2040">
                  <c:v>-7.9282817778907333E-3</c:v>
                </c:pt>
                <c:pt idx="2041">
                  <c:v>-8.2052194451631699E-3</c:v>
                </c:pt>
                <c:pt idx="2042">
                  <c:v>-7.2860455307901528E-3</c:v>
                </c:pt>
                <c:pt idx="2043">
                  <c:v>-8.5810441050523378E-3</c:v>
                </c:pt>
                <c:pt idx="2044">
                  <c:v>-8.1624910934284811E-3</c:v>
                </c:pt>
                <c:pt idx="2045">
                  <c:v>-3.9335331772932802E-3</c:v>
                </c:pt>
                <c:pt idx="2046">
                  <c:v>-1.2966491491504972E-2</c:v>
                </c:pt>
                <c:pt idx="2047">
                  <c:v>-1.6567116567284712E-2</c:v>
                </c:pt>
                <c:pt idx="2048">
                  <c:v>-1.6057258140450448E-2</c:v>
                </c:pt>
                <c:pt idx="2049">
                  <c:v>-1.2205407255372447E-2</c:v>
                </c:pt>
                <c:pt idx="2050">
                  <c:v>-3.5455861197720706E-3</c:v>
                </c:pt>
                <c:pt idx="2051">
                  <c:v>-7.2601339763662676E-3</c:v>
                </c:pt>
                <c:pt idx="2052">
                  <c:v>-5.9573028594476218E-3</c:v>
                </c:pt>
                <c:pt idx="2053">
                  <c:v>3.2902361935345237E-3</c:v>
                </c:pt>
                <c:pt idx="2054">
                  <c:v>2.636645541183813E-3</c:v>
                </c:pt>
                <c:pt idx="2055">
                  <c:v>2.2661027983165161E-3</c:v>
                </c:pt>
                <c:pt idx="2056">
                  <c:v>-4.3449970228546242E-3</c:v>
                </c:pt>
                <c:pt idx="2057">
                  <c:v>1.7814687421895403E-3</c:v>
                </c:pt>
                <c:pt idx="2058">
                  <c:v>-3.6436499408756262E-3</c:v>
                </c:pt>
                <c:pt idx="2059">
                  <c:v>-5.474286864400435E-3</c:v>
                </c:pt>
                <c:pt idx="2060">
                  <c:v>-4.2820458391619187E-3</c:v>
                </c:pt>
                <c:pt idx="2061">
                  <c:v>-3.1093325320266096E-3</c:v>
                </c:pt>
                <c:pt idx="2062">
                  <c:v>-6.0255043421043597E-3</c:v>
                </c:pt>
                <c:pt idx="2063">
                  <c:v>-7.4648358548027316E-3</c:v>
                </c:pt>
                <c:pt idx="2064">
                  <c:v>4.6184804078941433E-3</c:v>
                </c:pt>
                <c:pt idx="2065">
                  <c:v>5.1091872835088425E-3</c:v>
                </c:pt>
                <c:pt idx="2066">
                  <c:v>3.7081639032409131E-3</c:v>
                </c:pt>
                <c:pt idx="2067">
                  <c:v>1.6428775640529025E-2</c:v>
                </c:pt>
                <c:pt idx="2068">
                  <c:v>5.6824262160427574E-3</c:v>
                </c:pt>
                <c:pt idx="2069">
                  <c:v>9.8530303768959993E-3</c:v>
                </c:pt>
                <c:pt idx="2070">
                  <c:v>1.0219228816574888E-2</c:v>
                </c:pt>
                <c:pt idx="2071">
                  <c:v>4.018120101014544E-3</c:v>
                </c:pt>
                <c:pt idx="2072">
                  <c:v>-8.7920075444226642E-3</c:v>
                </c:pt>
                <c:pt idx="2073">
                  <c:v>6.0152381680933509E-4</c:v>
                </c:pt>
                <c:pt idx="2074">
                  <c:v>-2.415749499440345E-6</c:v>
                </c:pt>
                <c:pt idx="2075">
                  <c:v>-2.0630101677919788E-2</c:v>
                </c:pt>
                <c:pt idx="2076">
                  <c:v>-3.2474509454033518E-3</c:v>
                </c:pt>
                <c:pt idx="2077">
                  <c:v>-4.3994239791212975E-3</c:v>
                </c:pt>
                <c:pt idx="2078">
                  <c:v>-8.1543447231227084E-3</c:v>
                </c:pt>
                <c:pt idx="2079">
                  <c:v>-1.3792257319515389E-2</c:v>
                </c:pt>
                <c:pt idx="2080">
                  <c:v>-2.3892921475772155E-2</c:v>
                </c:pt>
                <c:pt idx="2081">
                  <c:v>-4.0703628663465108E-2</c:v>
                </c:pt>
                <c:pt idx="2082">
                  <c:v>-3.9649843013631947E-2</c:v>
                </c:pt>
                <c:pt idx="2083">
                  <c:v>-3.9247379335469845E-2</c:v>
                </c:pt>
                <c:pt idx="2084">
                  <c:v>-4.6071701874922155E-2</c:v>
                </c:pt>
                <c:pt idx="2085">
                  <c:v>-4.632640723098802E-2</c:v>
                </c:pt>
                <c:pt idx="2086">
                  <c:v>-4.5754479301080897E-2</c:v>
                </c:pt>
                <c:pt idx="2087">
                  <c:v>-4.3852321527170002E-2</c:v>
                </c:pt>
                <c:pt idx="2088">
                  <c:v>-4.5367254687656677E-2</c:v>
                </c:pt>
                <c:pt idx="2089">
                  <c:v>-3.9400882501594681E-2</c:v>
                </c:pt>
                <c:pt idx="2090">
                  <c:v>-3.7523837277108507E-2</c:v>
                </c:pt>
                <c:pt idx="2091">
                  <c:v>-5.1770969582314308E-2</c:v>
                </c:pt>
                <c:pt idx="2092">
                  <c:v>-5.1982982915577569E-2</c:v>
                </c:pt>
                <c:pt idx="2093">
                  <c:v>-4.8646533062473685E-2</c:v>
                </c:pt>
                <c:pt idx="2094">
                  <c:v>-3.9831483901452192E-2</c:v>
                </c:pt>
                <c:pt idx="2095">
                  <c:v>-3.9997368881907858E-2</c:v>
                </c:pt>
                <c:pt idx="2096">
                  <c:v>-4.0620078800786552E-2</c:v>
                </c:pt>
                <c:pt idx="2097">
                  <c:v>-3.882889168153647E-2</c:v>
                </c:pt>
                <c:pt idx="2098">
                  <c:v>-3.4034185695326902E-2</c:v>
                </c:pt>
                <c:pt idx="2099">
                  <c:v>-3.9263899550590731E-2</c:v>
                </c:pt>
                <c:pt idx="2100">
                  <c:v>-3.2499835801167443E-2</c:v>
                </c:pt>
                <c:pt idx="2101">
                  <c:v>-2.8254001827022091E-2</c:v>
                </c:pt>
                <c:pt idx="2102">
                  <c:v>-1.673810794531716E-2</c:v>
                </c:pt>
                <c:pt idx="2103">
                  <c:v>-1.1919998181103231E-2</c:v>
                </c:pt>
                <c:pt idx="2104">
                  <c:v>-8.242958762514685E-3</c:v>
                </c:pt>
                <c:pt idx="2105">
                  <c:v>6.7130222535227713E-3</c:v>
                </c:pt>
                <c:pt idx="2106">
                  <c:v>1.3269975425901359E-2</c:v>
                </c:pt>
                <c:pt idx="2107">
                  <c:v>1.2770390999147008E-2</c:v>
                </c:pt>
                <c:pt idx="2108">
                  <c:v>1.902281143250506E-2</c:v>
                </c:pt>
                <c:pt idx="2109">
                  <c:v>1.9716003603984622E-2</c:v>
                </c:pt>
                <c:pt idx="2110">
                  <c:v>2.5320559002024678E-2</c:v>
                </c:pt>
                <c:pt idx="2111">
                  <c:v>3.877893767900864E-2</c:v>
                </c:pt>
                <c:pt idx="2112">
                  <c:v>4.0293729154660007E-2</c:v>
                </c:pt>
                <c:pt idx="2113">
                  <c:v>4.5845602440670707E-2</c:v>
                </c:pt>
                <c:pt idx="2114">
                  <c:v>4.7041511745873454E-2</c:v>
                </c:pt>
                <c:pt idx="2115">
                  <c:v>3.8816383754571193E-2</c:v>
                </c:pt>
                <c:pt idx="2116">
                  <c:v>4.6747704280295732E-2</c:v>
                </c:pt>
                <c:pt idx="2117">
                  <c:v>4.4931212981812463E-2</c:v>
                </c:pt>
                <c:pt idx="2118">
                  <c:v>4.2625013155673463E-2</c:v>
                </c:pt>
                <c:pt idx="2119">
                  <c:v>4.6499312036831664E-2</c:v>
                </c:pt>
                <c:pt idx="2120">
                  <c:v>4.6026443071433332E-2</c:v>
                </c:pt>
                <c:pt idx="2121">
                  <c:v>3.6475112518320585E-2</c:v>
                </c:pt>
                <c:pt idx="2122">
                  <c:v>3.9085545569730207E-2</c:v>
                </c:pt>
                <c:pt idx="2123">
                  <c:v>2.931423595739957E-2</c:v>
                </c:pt>
                <c:pt idx="2124">
                  <c:v>2.2294960861964142E-2</c:v>
                </c:pt>
                <c:pt idx="2125">
                  <c:v>1.5264787639566624E-2</c:v>
                </c:pt>
                <c:pt idx="2126">
                  <c:v>2.0572775553653444E-2</c:v>
                </c:pt>
                <c:pt idx="2127">
                  <c:v>1.7416468883536984E-2</c:v>
                </c:pt>
                <c:pt idx="2128">
                  <c:v>2.3963930661879851E-2</c:v>
                </c:pt>
                <c:pt idx="2129">
                  <c:v>2.1176649215800869E-2</c:v>
                </c:pt>
                <c:pt idx="2130">
                  <c:v>2.5031881129485178E-2</c:v>
                </c:pt>
                <c:pt idx="2131">
                  <c:v>2.1457827371266114E-2</c:v>
                </c:pt>
                <c:pt idx="2132">
                  <c:v>1.8291029614747378E-2</c:v>
                </c:pt>
                <c:pt idx="2133">
                  <c:v>8.0895443317703375E-3</c:v>
                </c:pt>
                <c:pt idx="2134">
                  <c:v>8.992155635165644E-3</c:v>
                </c:pt>
                <c:pt idx="2135">
                  <c:v>9.1480184119104857E-3</c:v>
                </c:pt>
                <c:pt idx="2136">
                  <c:v>7.7343146894313097E-3</c:v>
                </c:pt>
                <c:pt idx="2137">
                  <c:v>-1.5073606886708557E-3</c:v>
                </c:pt>
                <c:pt idx="2138">
                  <c:v>-1.3172083108243915E-2</c:v>
                </c:pt>
                <c:pt idx="2139">
                  <c:v>-1.8981353608907514E-2</c:v>
                </c:pt>
                <c:pt idx="2140">
                  <c:v>-3.4297856411279581E-2</c:v>
                </c:pt>
                <c:pt idx="2141">
                  <c:v>-3.0918884664977497E-2</c:v>
                </c:pt>
                <c:pt idx="2142">
                  <c:v>-4.0581764722111946E-2</c:v>
                </c:pt>
                <c:pt idx="2143">
                  <c:v>-4.9023475024762342E-2</c:v>
                </c:pt>
                <c:pt idx="2144">
                  <c:v>-5.6264497966057703E-2</c:v>
                </c:pt>
                <c:pt idx="2145">
                  <c:v>-6.0821471948182437E-2</c:v>
                </c:pt>
                <c:pt idx="2146">
                  <c:v>-5.664571969607668E-2</c:v>
                </c:pt>
                <c:pt idx="2147">
                  <c:v>-5.7000531319734704E-2</c:v>
                </c:pt>
                <c:pt idx="2148">
                  <c:v>-5.7928400231013311E-2</c:v>
                </c:pt>
                <c:pt idx="2149">
                  <c:v>-5.7180029240559427E-2</c:v>
                </c:pt>
                <c:pt idx="2150">
                  <c:v>-5.8442594859617336E-2</c:v>
                </c:pt>
                <c:pt idx="2151">
                  <c:v>-4.7074128152500005E-2</c:v>
                </c:pt>
                <c:pt idx="2152">
                  <c:v>-5.3426654661849371E-2</c:v>
                </c:pt>
                <c:pt idx="2153">
                  <c:v>-4.4164190263572323E-2</c:v>
                </c:pt>
                <c:pt idx="2154">
                  <c:v>-4.9543180615004623E-2</c:v>
                </c:pt>
                <c:pt idx="2155">
                  <c:v>-3.4954578881266074E-2</c:v>
                </c:pt>
                <c:pt idx="2156">
                  <c:v>-3.1639155433492383E-2</c:v>
                </c:pt>
                <c:pt idx="2157">
                  <c:v>-3.6011753000158353E-2</c:v>
                </c:pt>
                <c:pt idx="2158">
                  <c:v>-4.3533324026689524E-2</c:v>
                </c:pt>
                <c:pt idx="2159">
                  <c:v>-3.4144316068340674E-2</c:v>
                </c:pt>
                <c:pt idx="2160">
                  <c:v>-3.7958270636993419E-2</c:v>
                </c:pt>
                <c:pt idx="2161">
                  <c:v>-3.3611069404605565E-2</c:v>
                </c:pt>
                <c:pt idx="2162">
                  <c:v>-3.652970745148032E-2</c:v>
                </c:pt>
                <c:pt idx="2163">
                  <c:v>-3.3433847850128151E-2</c:v>
                </c:pt>
                <c:pt idx="2164">
                  <c:v>-3.0760189897313439E-2</c:v>
                </c:pt>
                <c:pt idx="2165">
                  <c:v>-2.969438842602512E-2</c:v>
                </c:pt>
                <c:pt idx="2166">
                  <c:v>-4.0363671151782854E-2</c:v>
                </c:pt>
                <c:pt idx="2167">
                  <c:v>-3.4052289855438289E-2</c:v>
                </c:pt>
                <c:pt idx="2168">
                  <c:v>-2.2677560535287578E-2</c:v>
                </c:pt>
                <c:pt idx="2169">
                  <c:v>-1.3164348767557232E-2</c:v>
                </c:pt>
                <c:pt idx="2170">
                  <c:v>1.0631944447675457E-3</c:v>
                </c:pt>
                <c:pt idx="2171">
                  <c:v>-1.9183505818801683E-3</c:v>
                </c:pt>
                <c:pt idx="2172">
                  <c:v>5.6147910312474014E-3</c:v>
                </c:pt>
                <c:pt idx="2173">
                  <c:v>1.7178424385801305E-2</c:v>
                </c:pt>
                <c:pt idx="2174">
                  <c:v>2.2789353318084182E-2</c:v>
                </c:pt>
                <c:pt idx="2175">
                  <c:v>3.1945284215671443E-2</c:v>
                </c:pt>
                <c:pt idx="2176">
                  <c:v>3.5658196760293026E-2</c:v>
                </c:pt>
                <c:pt idx="2177">
                  <c:v>2.6931752605311776E-2</c:v>
                </c:pt>
                <c:pt idx="2178">
                  <c:v>2.68997058655156E-2</c:v>
                </c:pt>
                <c:pt idx="2179">
                  <c:v>2.1380887699110174E-2</c:v>
                </c:pt>
                <c:pt idx="2180">
                  <c:v>2.0855685256148893E-2</c:v>
                </c:pt>
                <c:pt idx="2181">
                  <c:v>1.9741975561072822E-2</c:v>
                </c:pt>
                <c:pt idx="2182">
                  <c:v>2.7738494404534464E-2</c:v>
                </c:pt>
                <c:pt idx="2183">
                  <c:v>2.3261725875277639E-2</c:v>
                </c:pt>
                <c:pt idx="2184">
                  <c:v>3.6098565280705097E-2</c:v>
                </c:pt>
                <c:pt idx="2185">
                  <c:v>3.7544999687063596E-2</c:v>
                </c:pt>
                <c:pt idx="2186">
                  <c:v>3.6808448666940885E-2</c:v>
                </c:pt>
                <c:pt idx="2187">
                  <c:v>4.4787304427835295E-2</c:v>
                </c:pt>
                <c:pt idx="2188">
                  <c:v>5.0570021568164369E-2</c:v>
                </c:pt>
                <c:pt idx="2189">
                  <c:v>4.7308994929648573E-2</c:v>
                </c:pt>
                <c:pt idx="2190">
                  <c:v>4.3957999274891302E-2</c:v>
                </c:pt>
                <c:pt idx="2191">
                  <c:v>3.1379345673749226E-2</c:v>
                </c:pt>
                <c:pt idx="2192">
                  <c:v>3.5651404706147027E-2</c:v>
                </c:pt>
                <c:pt idx="2193">
                  <c:v>3.8078705553229342E-2</c:v>
                </c:pt>
                <c:pt idx="2194">
                  <c:v>1.7620108169854709E-2</c:v>
                </c:pt>
                <c:pt idx="2195">
                  <c:v>1.3819773525795331E-2</c:v>
                </c:pt>
                <c:pt idx="2196">
                  <c:v>1.9172809062848239E-2</c:v>
                </c:pt>
                <c:pt idx="2197">
                  <c:v>1.7847649744373695E-2</c:v>
                </c:pt>
                <c:pt idx="2198">
                  <c:v>2.3691324044097462E-2</c:v>
                </c:pt>
                <c:pt idx="2199">
                  <c:v>2.4370595855757848E-2</c:v>
                </c:pt>
                <c:pt idx="2200">
                  <c:v>2.1809604309248054E-2</c:v>
                </c:pt>
                <c:pt idx="2201">
                  <c:v>2.4719831373087864E-2</c:v>
                </c:pt>
                <c:pt idx="2202">
                  <c:v>2.7575702931841417E-2</c:v>
                </c:pt>
                <c:pt idx="2203">
                  <c:v>2.4512311276605803E-2</c:v>
                </c:pt>
                <c:pt idx="2204">
                  <c:v>2.0786294916073866E-2</c:v>
                </c:pt>
                <c:pt idx="2205">
                  <c:v>1.711701482282979E-2</c:v>
                </c:pt>
                <c:pt idx="2206">
                  <c:v>1.7890195167980627E-2</c:v>
                </c:pt>
                <c:pt idx="2207">
                  <c:v>2.7795801908967466E-2</c:v>
                </c:pt>
                <c:pt idx="2208">
                  <c:v>1.4756667302440629E-2</c:v>
                </c:pt>
                <c:pt idx="2209">
                  <c:v>1.7232270320377552E-2</c:v>
                </c:pt>
                <c:pt idx="2210">
                  <c:v>1.7957371985851789E-2</c:v>
                </c:pt>
                <c:pt idx="2211">
                  <c:v>8.9999319587038551E-3</c:v>
                </c:pt>
                <c:pt idx="2212">
                  <c:v>7.8505709282006286E-4</c:v>
                </c:pt>
                <c:pt idx="2213">
                  <c:v>7.6816229224425658E-3</c:v>
                </c:pt>
                <c:pt idx="2214">
                  <c:v>4.3720227462662464E-3</c:v>
                </c:pt>
                <c:pt idx="2215">
                  <c:v>-4.2130850437614997E-3</c:v>
                </c:pt>
                <c:pt idx="2216">
                  <c:v>-1.052815292291498E-2</c:v>
                </c:pt>
                <c:pt idx="2217">
                  <c:v>-8.4716349251177103E-3</c:v>
                </c:pt>
                <c:pt idx="2218">
                  <c:v>-7.5130327721895096E-4</c:v>
                </c:pt>
                <c:pt idx="2219">
                  <c:v>1.103309347963588E-2</c:v>
                </c:pt>
                <c:pt idx="2220">
                  <c:v>1.0779368818356616E-2</c:v>
                </c:pt>
                <c:pt idx="2221">
                  <c:v>1.6430668751545974E-2</c:v>
                </c:pt>
                <c:pt idx="2222">
                  <c:v>2.1893980715329775E-2</c:v>
                </c:pt>
                <c:pt idx="2223">
                  <c:v>1.9853976073917035E-2</c:v>
                </c:pt>
                <c:pt idx="2224">
                  <c:v>1.5369991248822545E-2</c:v>
                </c:pt>
                <c:pt idx="2225">
                  <c:v>-3.115064983453808E-2</c:v>
                </c:pt>
                <c:pt idx="2226">
                  <c:v>-7.5928400502388249E-2</c:v>
                </c:pt>
                <c:pt idx="2227">
                  <c:v>-8.770900644354318E-2</c:v>
                </c:pt>
                <c:pt idx="2228">
                  <c:v>-6.2664555367538566E-2</c:v>
                </c:pt>
                <c:pt idx="2229">
                  <c:v>-9.2994480148088754E-2</c:v>
                </c:pt>
                <c:pt idx="2230">
                  <c:v>-3.3298158994826799E-2</c:v>
                </c:pt>
                <c:pt idx="2231">
                  <c:v>-7.4853466597500917E-3</c:v>
                </c:pt>
                <c:pt idx="2232">
                  <c:v>2.0433776910043222E-2</c:v>
                </c:pt>
                <c:pt idx="2233">
                  <c:v>3.7028473563923137E-2</c:v>
                </c:pt>
                <c:pt idx="2234">
                  <c:v>0.19211142833347494</c:v>
                </c:pt>
                <c:pt idx="2235">
                  <c:v>0.20940309027294834</c:v>
                </c:pt>
                <c:pt idx="2236">
                  <c:v>0.21055100163374452</c:v>
                </c:pt>
                <c:pt idx="2237">
                  <c:v>0.17098962080910896</c:v>
                </c:pt>
                <c:pt idx="2238">
                  <c:v>0.12558632696738836</c:v>
                </c:pt>
                <c:pt idx="2239">
                  <c:v>0.13443592893432832</c:v>
                </c:pt>
                <c:pt idx="2240">
                  <c:v>0.15115562778249447</c:v>
                </c:pt>
                <c:pt idx="2241">
                  <c:v>0.13206178318402928</c:v>
                </c:pt>
                <c:pt idx="2242">
                  <c:v>0.12968709775862985</c:v>
                </c:pt>
                <c:pt idx="2243">
                  <c:v>0.15820397962573629</c:v>
                </c:pt>
                <c:pt idx="2244">
                  <c:v>0.25473896566709053</c:v>
                </c:pt>
                <c:pt idx="2245">
                  <c:v>0.20893092617423548</c:v>
                </c:pt>
                <c:pt idx="2246">
                  <c:v>0.23153561586320903</c:v>
                </c:pt>
                <c:pt idx="2247">
                  <c:v>0.28296235554163529</c:v>
                </c:pt>
                <c:pt idx="2248">
                  <c:v>0.37097226975586051</c:v>
                </c:pt>
                <c:pt idx="2249">
                  <c:v>0.32823190950667025</c:v>
                </c:pt>
                <c:pt idx="2250">
                  <c:v>0.39365726265397483</c:v>
                </c:pt>
                <c:pt idx="2251">
                  <c:v>0.35172287558913184</c:v>
                </c:pt>
                <c:pt idx="2252">
                  <c:v>0.39147842990040116</c:v>
                </c:pt>
                <c:pt idx="2253">
                  <c:v>0.41509512532318882</c:v>
                </c:pt>
                <c:pt idx="2254">
                  <c:v>0.42245599459633876</c:v>
                </c:pt>
                <c:pt idx="2255">
                  <c:v>0.35815424391986583</c:v>
                </c:pt>
                <c:pt idx="2256">
                  <c:v>0.48779671327546248</c:v>
                </c:pt>
                <c:pt idx="2257">
                  <c:v>0.57852777403595856</c:v>
                </c:pt>
                <c:pt idx="2258">
                  <c:v>0.57035274610762221</c:v>
                </c:pt>
                <c:pt idx="2259">
                  <c:v>0.55624877804094586</c:v>
                </c:pt>
                <c:pt idx="2260">
                  <c:v>0.48174364345960285</c:v>
                </c:pt>
                <c:pt idx="2261">
                  <c:v>0.42194511845008364</c:v>
                </c:pt>
                <c:pt idx="2262">
                  <c:v>0.41878372133358754</c:v>
                </c:pt>
                <c:pt idx="2263">
                  <c:v>0.49523060944677588</c:v>
                </c:pt>
                <c:pt idx="2264">
                  <c:v>0.53478551678390496</c:v>
                </c:pt>
                <c:pt idx="2265">
                  <c:v>0.69610511732464497</c:v>
                </c:pt>
                <c:pt idx="2266">
                  <c:v>0.58413735398960542</c:v>
                </c:pt>
                <c:pt idx="2267">
                  <c:v>0.83752020772948488</c:v>
                </c:pt>
                <c:pt idx="2268">
                  <c:v>0.89453544719656553</c:v>
                </c:pt>
                <c:pt idx="2269">
                  <c:v>1.0080607649924347</c:v>
                </c:pt>
                <c:pt idx="2270">
                  <c:v>1.0579275342634813</c:v>
                </c:pt>
                <c:pt idx="2271">
                  <c:v>1.114046944352082</c:v>
                </c:pt>
                <c:pt idx="2272">
                  <c:v>1.1720794580202063</c:v>
                </c:pt>
                <c:pt idx="2273">
                  <c:v>1.1546207474091998</c:v>
                </c:pt>
                <c:pt idx="2274">
                  <c:v>1.025433196499423</c:v>
                </c:pt>
                <c:pt idx="2275">
                  <c:v>1.054194346344663</c:v>
                </c:pt>
                <c:pt idx="2276">
                  <c:v>0.6446098426281438</c:v>
                </c:pt>
                <c:pt idx="2277">
                  <c:v>0.61127898721791107</c:v>
                </c:pt>
                <c:pt idx="2278">
                  <c:v>0.62846593469386358</c:v>
                </c:pt>
                <c:pt idx="2279">
                  <c:v>0.74583112317825917</c:v>
                </c:pt>
                <c:pt idx="2280">
                  <c:v>0.84033875363613542</c:v>
                </c:pt>
                <c:pt idx="2281">
                  <c:v>0.9099673365212585</c:v>
                </c:pt>
                <c:pt idx="2282">
                  <c:v>1.0084405281167252</c:v>
                </c:pt>
                <c:pt idx="2283">
                  <c:v>1.1758491807687572</c:v>
                </c:pt>
                <c:pt idx="2284">
                  <c:v>1.1765866237792912</c:v>
                </c:pt>
                <c:pt idx="2285">
                  <c:v>1.1592327643149569</c:v>
                </c:pt>
                <c:pt idx="2286">
                  <c:v>1.0503816494095104</c:v>
                </c:pt>
                <c:pt idx="2287">
                  <c:v>1.0007230940359331</c:v>
                </c:pt>
                <c:pt idx="2288">
                  <c:v>0.82442428393313316</c:v>
                </c:pt>
                <c:pt idx="2289">
                  <c:v>0.74831944796252936</c:v>
                </c:pt>
                <c:pt idx="2290">
                  <c:v>0.75148417648629684</c:v>
                </c:pt>
                <c:pt idx="2291">
                  <c:v>0.78716977935540522</c:v>
                </c:pt>
                <c:pt idx="2292">
                  <c:v>0.79767443402325855</c:v>
                </c:pt>
                <c:pt idx="2293">
                  <c:v>0.8224462152435571</c:v>
                </c:pt>
                <c:pt idx="2294">
                  <c:v>0.85609779000080233</c:v>
                </c:pt>
                <c:pt idx="2295">
                  <c:v>0.90452691296624688</c:v>
                </c:pt>
                <c:pt idx="2296">
                  <c:v>0.90521582327330175</c:v>
                </c:pt>
                <c:pt idx="2297">
                  <c:v>0.93026745643985687</c:v>
                </c:pt>
                <c:pt idx="2298">
                  <c:v>0.94392709083398396</c:v>
                </c:pt>
                <c:pt idx="2299">
                  <c:v>0.8749198260532417</c:v>
                </c:pt>
                <c:pt idx="2300">
                  <c:v>0.81208362133442125</c:v>
                </c:pt>
                <c:pt idx="2301">
                  <c:v>0.74593322681168817</c:v>
                </c:pt>
                <c:pt idx="2302">
                  <c:v>0.69060098710296247</c:v>
                </c:pt>
                <c:pt idx="2303">
                  <c:v>0.58431247080424387</c:v>
                </c:pt>
                <c:pt idx="2304">
                  <c:v>0.47513127516071096</c:v>
                </c:pt>
                <c:pt idx="2305">
                  <c:v>0.34099962916897086</c:v>
                </c:pt>
                <c:pt idx="2306">
                  <c:v>0.3455623255958834</c:v>
                </c:pt>
                <c:pt idx="2307">
                  <c:v>0.35104665208664765</c:v>
                </c:pt>
                <c:pt idx="2308">
                  <c:v>0.35393155983354918</c:v>
                </c:pt>
                <c:pt idx="2309">
                  <c:v>0.34351001829673289</c:v>
                </c:pt>
                <c:pt idx="2310">
                  <c:v>0.3361854341241749</c:v>
                </c:pt>
                <c:pt idx="2311">
                  <c:v>0.32574250938360694</c:v>
                </c:pt>
                <c:pt idx="2312">
                  <c:v>0.31759847128924934</c:v>
                </c:pt>
                <c:pt idx="2313">
                  <c:v>0.30426442289285272</c:v>
                </c:pt>
                <c:pt idx="2314">
                  <c:v>0.29127743498903558</c:v>
                </c:pt>
                <c:pt idx="2315">
                  <c:v>0.27431901497463829</c:v>
                </c:pt>
                <c:pt idx="2316">
                  <c:v>0.2535581538251318</c:v>
                </c:pt>
                <c:pt idx="2317">
                  <c:v>0.2300011459364516</c:v>
                </c:pt>
                <c:pt idx="2318">
                  <c:v>0.20372562947232231</c:v>
                </c:pt>
                <c:pt idx="2319">
                  <c:v>0.16297018064303403</c:v>
                </c:pt>
                <c:pt idx="2320">
                  <c:v>0.11267201984463127</c:v>
                </c:pt>
                <c:pt idx="2321">
                  <c:v>-1.9936538043514029E-2</c:v>
                </c:pt>
                <c:pt idx="2322">
                  <c:v>-1.9257768108980056E-2</c:v>
                </c:pt>
                <c:pt idx="2323">
                  <c:v>-2.0878079092243929E-2</c:v>
                </c:pt>
                <c:pt idx="2324">
                  <c:v>-2.3329898831955465E-2</c:v>
                </c:pt>
                <c:pt idx="2325">
                  <c:v>-2.5703742934925167E-2</c:v>
                </c:pt>
                <c:pt idx="2326">
                  <c:v>-2.8627088397953027E-2</c:v>
                </c:pt>
                <c:pt idx="2327">
                  <c:v>-3.5316720539030788E-2</c:v>
                </c:pt>
                <c:pt idx="2328">
                  <c:v>-3.5895440677407686E-2</c:v>
                </c:pt>
                <c:pt idx="2329">
                  <c:v>-4.1542686352827318E-2</c:v>
                </c:pt>
                <c:pt idx="2330">
                  <c:v>-4.6803520129836018E-2</c:v>
                </c:pt>
                <c:pt idx="2331">
                  <c:v>-4.7057884594204458E-2</c:v>
                </c:pt>
                <c:pt idx="2332">
                  <c:v>-4.1982707235697525E-2</c:v>
                </c:pt>
                <c:pt idx="2333">
                  <c:v>-3.34223269745475E-2</c:v>
                </c:pt>
                <c:pt idx="2334">
                  <c:v>-3.3206088739799688E-2</c:v>
                </c:pt>
                <c:pt idx="2335">
                  <c:v>-3.2012794275571466E-2</c:v>
                </c:pt>
                <c:pt idx="2336">
                  <c:v>-2.81891115502092E-2</c:v>
                </c:pt>
                <c:pt idx="2337">
                  <c:v>-3.2924565061579925E-2</c:v>
                </c:pt>
                <c:pt idx="2338">
                  <c:v>-2.5567415804792604E-2</c:v>
                </c:pt>
                <c:pt idx="2339">
                  <c:v>-2.4574598657424396E-2</c:v>
                </c:pt>
                <c:pt idx="2340">
                  <c:v>-2.5600839638750705E-2</c:v>
                </c:pt>
                <c:pt idx="2341">
                  <c:v>-2.4829581888224261E-2</c:v>
                </c:pt>
                <c:pt idx="2342">
                  <c:v>-2.1290824222513827E-2</c:v>
                </c:pt>
                <c:pt idx="2343">
                  <c:v>-2.9936288431919977E-2</c:v>
                </c:pt>
                <c:pt idx="2344">
                  <c:v>-2.3481558701456184E-2</c:v>
                </c:pt>
                <c:pt idx="2345">
                  <c:v>-1.6725583512745335E-2</c:v>
                </c:pt>
                <c:pt idx="2346">
                  <c:v>-1.8072637161676841E-2</c:v>
                </c:pt>
                <c:pt idx="2347">
                  <c:v>-2.1512745292588731E-2</c:v>
                </c:pt>
                <c:pt idx="2348">
                  <c:v>-3.915788899884165E-2</c:v>
                </c:pt>
                <c:pt idx="2349">
                  <c:v>-2.9460260600651988E-2</c:v>
                </c:pt>
                <c:pt idx="2350">
                  <c:v>-3.6569400225425985E-2</c:v>
                </c:pt>
                <c:pt idx="2351">
                  <c:v>-2.0759122366249549E-2</c:v>
                </c:pt>
                <c:pt idx="2352">
                  <c:v>-1.3089861891823706E-2</c:v>
                </c:pt>
                <c:pt idx="2353">
                  <c:v>-1.0000673429223395E-2</c:v>
                </c:pt>
                <c:pt idx="2354">
                  <c:v>-1.1567760440294172E-2</c:v>
                </c:pt>
                <c:pt idx="2355">
                  <c:v>-1.0832833364979422E-2</c:v>
                </c:pt>
                <c:pt idx="2356">
                  <c:v>-8.8470795951827164E-3</c:v>
                </c:pt>
                <c:pt idx="2357">
                  <c:v>3.3781831672530238E-3</c:v>
                </c:pt>
                <c:pt idx="2358">
                  <c:v>1.2791089171367842E-2</c:v>
                </c:pt>
                <c:pt idx="2359">
                  <c:v>1.4038159016505292E-2</c:v>
                </c:pt>
                <c:pt idx="2360">
                  <c:v>2.0536070430598241E-2</c:v>
                </c:pt>
                <c:pt idx="2361">
                  <c:v>2.3512265626918882E-2</c:v>
                </c:pt>
                <c:pt idx="2362">
                  <c:v>3.0966608018071939E-2</c:v>
                </c:pt>
                <c:pt idx="2363">
                  <c:v>3.214408905373356E-2</c:v>
                </c:pt>
                <c:pt idx="2364">
                  <c:v>3.1856691257608039E-2</c:v>
                </c:pt>
                <c:pt idx="2365">
                  <c:v>3.4077117409355151E-2</c:v>
                </c:pt>
                <c:pt idx="2366">
                  <c:v>2.8565804368200554E-2</c:v>
                </c:pt>
                <c:pt idx="2367">
                  <c:v>1.504818744778591E-2</c:v>
                </c:pt>
                <c:pt idx="2368">
                  <c:v>1.381726605210376E-2</c:v>
                </c:pt>
                <c:pt idx="2369">
                  <c:v>1.9098394397181195E-2</c:v>
                </c:pt>
                <c:pt idx="2370">
                  <c:v>2.014787864876677E-2</c:v>
                </c:pt>
                <c:pt idx="2371">
                  <c:v>1.8524100364365581E-2</c:v>
                </c:pt>
                <c:pt idx="2372">
                  <c:v>1.2233249996631113E-2</c:v>
                </c:pt>
                <c:pt idx="2373">
                  <c:v>1.6722714238619485E-2</c:v>
                </c:pt>
                <c:pt idx="2374">
                  <c:v>2.1668056366452859E-3</c:v>
                </c:pt>
                <c:pt idx="2375">
                  <c:v>2.7554387963483196E-3</c:v>
                </c:pt>
                <c:pt idx="2376">
                  <c:v>8.5509121689022471E-3</c:v>
                </c:pt>
                <c:pt idx="2377">
                  <c:v>2.3500205280949649E-2</c:v>
                </c:pt>
                <c:pt idx="2378">
                  <c:v>2.0163754172072945E-2</c:v>
                </c:pt>
                <c:pt idx="2379">
                  <c:v>1.8586972274909241E-2</c:v>
                </c:pt>
                <c:pt idx="2380">
                  <c:v>1.7489339622001276E-2</c:v>
                </c:pt>
                <c:pt idx="2381">
                  <c:v>1.293589387400873E-2</c:v>
                </c:pt>
                <c:pt idx="2382">
                  <c:v>1.2352006021717377E-2</c:v>
                </c:pt>
                <c:pt idx="2383">
                  <c:v>1.2389475324739108E-2</c:v>
                </c:pt>
                <c:pt idx="2384">
                  <c:v>1.7907507271814338E-2</c:v>
                </c:pt>
                <c:pt idx="2385">
                  <c:v>1.2306098920074171E-2</c:v>
                </c:pt>
                <c:pt idx="2386">
                  <c:v>1.8385645944215878E-2</c:v>
                </c:pt>
                <c:pt idx="2387">
                  <c:v>1.9113350162088816E-2</c:v>
                </c:pt>
                <c:pt idx="2388">
                  <c:v>2.5297203913083544E-2</c:v>
                </c:pt>
                <c:pt idx="2389">
                  <c:v>2.8801144323655659E-2</c:v>
                </c:pt>
                <c:pt idx="2390">
                  <c:v>3.3824619356677132E-2</c:v>
                </c:pt>
                <c:pt idx="2391">
                  <c:v>2.9718247839024214E-2</c:v>
                </c:pt>
                <c:pt idx="2392">
                  <c:v>1.9136272786391073E-2</c:v>
                </c:pt>
                <c:pt idx="2393">
                  <c:v>1.4381812140636829E-2</c:v>
                </c:pt>
                <c:pt idx="2394">
                  <c:v>1.3317257152894779E-2</c:v>
                </c:pt>
                <c:pt idx="2395">
                  <c:v>5.786003081903579E-3</c:v>
                </c:pt>
                <c:pt idx="2396">
                  <c:v>6.316274912514741E-3</c:v>
                </c:pt>
                <c:pt idx="2397">
                  <c:v>1.6671033934087087E-2</c:v>
                </c:pt>
                <c:pt idx="2398">
                  <c:v>1.8937365769051473E-2</c:v>
                </c:pt>
                <c:pt idx="2399">
                  <c:v>1.310370499169522E-2</c:v>
                </c:pt>
                <c:pt idx="2400">
                  <c:v>1.3289386996790276E-2</c:v>
                </c:pt>
                <c:pt idx="2401">
                  <c:v>1.8748599375868147E-2</c:v>
                </c:pt>
                <c:pt idx="2402">
                  <c:v>2.1384333192568827E-2</c:v>
                </c:pt>
                <c:pt idx="2403">
                  <c:v>2.5525383479794717E-2</c:v>
                </c:pt>
                <c:pt idx="2404">
                  <c:v>3.5287422815243996E-2</c:v>
                </c:pt>
                <c:pt idx="2405">
                  <c:v>3.4438805470188183E-2</c:v>
                </c:pt>
                <c:pt idx="2406">
                  <c:v>3.319418396784779E-2</c:v>
                </c:pt>
                <c:pt idx="2407">
                  <c:v>2.1095188192490011E-2</c:v>
                </c:pt>
                <c:pt idx="2408">
                  <c:v>2.7402093938825756E-2</c:v>
                </c:pt>
                <c:pt idx="2409">
                  <c:v>3.0009412553759218E-2</c:v>
                </c:pt>
                <c:pt idx="2410">
                  <c:v>3.002066300088313E-2</c:v>
                </c:pt>
                <c:pt idx="2411">
                  <c:v>2.487331070987675E-2</c:v>
                </c:pt>
                <c:pt idx="2412">
                  <c:v>2.729272737785482E-2</c:v>
                </c:pt>
                <c:pt idx="2413">
                  <c:v>2.2952414735316173E-2</c:v>
                </c:pt>
                <c:pt idx="2414">
                  <c:v>2.1747757455302108E-2</c:v>
                </c:pt>
                <c:pt idx="2415">
                  <c:v>1.8897509911733001E-2</c:v>
                </c:pt>
                <c:pt idx="2416">
                  <c:v>2.4242441620826671E-2</c:v>
                </c:pt>
                <c:pt idx="2417">
                  <c:v>1.5760010538663938E-2</c:v>
                </c:pt>
                <c:pt idx="2418">
                  <c:v>1.1380291867022274E-2</c:v>
                </c:pt>
                <c:pt idx="2419">
                  <c:v>5.91362180314986E-3</c:v>
                </c:pt>
                <c:pt idx="2420">
                  <c:v>1.7762227441754375E-3</c:v>
                </c:pt>
                <c:pt idx="2421">
                  <c:v>3.4288021003752167E-3</c:v>
                </c:pt>
                <c:pt idx="2422">
                  <c:v>3.6410415195883283E-3</c:v>
                </c:pt>
                <c:pt idx="2423">
                  <c:v>7.7072432887938525E-3</c:v>
                </c:pt>
                <c:pt idx="2424">
                  <c:v>5.3761962182252154E-3</c:v>
                </c:pt>
                <c:pt idx="2425">
                  <c:v>8.4820847177629055E-3</c:v>
                </c:pt>
                <c:pt idx="2426">
                  <c:v>1.7402395316615138E-2</c:v>
                </c:pt>
                <c:pt idx="2427">
                  <c:v>1.785942410704866E-2</c:v>
                </c:pt>
                <c:pt idx="2428">
                  <c:v>1.3973789178247542E-2</c:v>
                </c:pt>
                <c:pt idx="2429">
                  <c:v>1.8933218185147427E-2</c:v>
                </c:pt>
                <c:pt idx="2430">
                  <c:v>2.1554896727839001E-2</c:v>
                </c:pt>
                <c:pt idx="2431">
                  <c:v>1.5612101500115549E-2</c:v>
                </c:pt>
                <c:pt idx="2432">
                  <c:v>1.5621867586631422E-2</c:v>
                </c:pt>
                <c:pt idx="2433">
                  <c:v>1.0858520599768717E-2</c:v>
                </c:pt>
                <c:pt idx="2434">
                  <c:v>6.43126562904206E-3</c:v>
                </c:pt>
                <c:pt idx="2435">
                  <c:v>8.3083619057275904E-3</c:v>
                </c:pt>
                <c:pt idx="2436">
                  <c:v>1.3748641638739345E-2</c:v>
                </c:pt>
                <c:pt idx="2437">
                  <c:v>1.8357806011140287E-2</c:v>
                </c:pt>
                <c:pt idx="2438">
                  <c:v>2.5113184868018279E-2</c:v>
                </c:pt>
                <c:pt idx="2439">
                  <c:v>1.6705230859591913E-2</c:v>
                </c:pt>
                <c:pt idx="2440">
                  <c:v>1.6930792988390009E-2</c:v>
                </c:pt>
                <c:pt idx="2441">
                  <c:v>2.0025292191899691E-2</c:v>
                </c:pt>
                <c:pt idx="2442">
                  <c:v>2.2579103742228768E-2</c:v>
                </c:pt>
                <c:pt idx="2443">
                  <c:v>2.1829042728429837E-2</c:v>
                </c:pt>
                <c:pt idx="2444">
                  <c:v>1.0758611013025776E-2</c:v>
                </c:pt>
                <c:pt idx="2445">
                  <c:v>4.598378335999953E-2</c:v>
                </c:pt>
                <c:pt idx="2446">
                  <c:v>4.8205078971365889E-2</c:v>
                </c:pt>
                <c:pt idx="2447">
                  <c:v>6.2561551933828119E-2</c:v>
                </c:pt>
                <c:pt idx="2448">
                  <c:v>8.0423287731007209E-2</c:v>
                </c:pt>
                <c:pt idx="2449">
                  <c:v>8.2685941131778518E-2</c:v>
                </c:pt>
                <c:pt idx="2450">
                  <c:v>8.5164670182304891E-2</c:v>
                </c:pt>
                <c:pt idx="2451">
                  <c:v>2.026710098959178E-2</c:v>
                </c:pt>
              </c:numCache>
            </c:numRef>
          </c:val>
          <c:smooth val="0"/>
          <c:extLst>
            <c:ext xmlns:c16="http://schemas.microsoft.com/office/drawing/2014/chart" uri="{C3380CC4-5D6E-409C-BE32-E72D297353CC}">
              <c16:uniqueId val="{00000002-3B50-4739-A83C-F8C70CD5A08B}"/>
            </c:ext>
          </c:extLst>
        </c:ser>
        <c:dLbls>
          <c:showLegendKey val="0"/>
          <c:showVal val="0"/>
          <c:showCatName val="0"/>
          <c:showSerName val="0"/>
          <c:showPercent val="0"/>
          <c:showBubbleSize val="0"/>
        </c:dLbls>
        <c:marker val="1"/>
        <c:smooth val="0"/>
        <c:axId val="356251087"/>
        <c:axId val="356250607"/>
      </c:lineChar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3B50-4739-A83C-F8C70CD5A08B}"/>
            </c:ext>
          </c:extLst>
        </c:ser>
        <c:dLbls>
          <c:showLegendKey val="0"/>
          <c:showVal val="0"/>
          <c:showCatName val="0"/>
          <c:showSerName val="0"/>
          <c:showPercent val="0"/>
          <c:showBubbleSize val="0"/>
        </c:dLbls>
        <c:marker val="1"/>
        <c:smooth val="0"/>
        <c:axId val="428821679"/>
        <c:axId val="428818319"/>
      </c:lineChart>
      <c:catAx>
        <c:axId val="3562510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6250607"/>
        <c:crosses val="autoZero"/>
        <c:auto val="1"/>
        <c:lblAlgn val="ctr"/>
        <c:lblOffset val="100"/>
        <c:noMultiLvlLbl val="0"/>
      </c:catAx>
      <c:valAx>
        <c:axId val="35625060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6251087"/>
        <c:crosses val="autoZero"/>
        <c:crossBetween val="between"/>
      </c:valAx>
      <c:valAx>
        <c:axId val="42881831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8821679"/>
        <c:crosses val="max"/>
        <c:crossBetween val="between"/>
      </c:valAx>
      <c:catAx>
        <c:axId val="428821679"/>
        <c:scaling>
          <c:orientation val="minMax"/>
        </c:scaling>
        <c:delete val="1"/>
        <c:axPos val="b"/>
        <c:majorTickMark val="out"/>
        <c:minorTickMark val="none"/>
        <c:tickLblPos val="nextTo"/>
        <c:crossAx val="428818319"/>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Pump Failure</a:t>
            </a:r>
            <a:r>
              <a:rPr lang="en-US" baseline="0"/>
              <a:t> (Stdev)</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bg1">
                <a:lumMod val="75000"/>
              </a:schemeClr>
            </a:solidFill>
            <a:ln>
              <a:noFill/>
            </a:ln>
            <a:effectLst/>
          </c:spPr>
          <c:invertIfNegative val="0"/>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4E82-4BBF-A33F-DBEFE13E82E1}"/>
            </c:ext>
          </c:extLst>
        </c:ser>
        <c:dLbls>
          <c:showLegendKey val="0"/>
          <c:showVal val="0"/>
          <c:showCatName val="0"/>
          <c:showSerName val="0"/>
          <c:showPercent val="0"/>
          <c:showBubbleSize val="0"/>
        </c:dLbls>
        <c:gapWidth val="150"/>
        <c:overlap val="100"/>
        <c:axId val="1316213680"/>
        <c:axId val="1316196400"/>
      </c:barChart>
      <c:catAx>
        <c:axId val="1316213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6196400"/>
        <c:crosses val="autoZero"/>
        <c:auto val="1"/>
        <c:lblAlgn val="ctr"/>
        <c:lblOffset val="100"/>
        <c:noMultiLvlLbl val="0"/>
      </c:catAx>
      <c:valAx>
        <c:axId val="13161964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621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ime Series Performanc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C$2:$C$2453</c:f>
              <c:numCache>
                <c:formatCode>#,##0.00</c:formatCode>
                <c:ptCount val="2400"/>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20.336129032258068</c:v>
                </c:pt>
                <c:pt idx="2254">
                  <c:v>21.72129032258065</c:v>
                </c:pt>
                <c:pt idx="2255">
                  <c:v>23.081935483870971</c:v>
                </c:pt>
                <c:pt idx="2256">
                  <c:v>24.372580645161293</c:v>
                </c:pt>
                <c:pt idx="2257">
                  <c:v>25.719677419354841</c:v>
                </c:pt>
                <c:pt idx="2258">
                  <c:v>27.02741935483871</c:v>
                </c:pt>
                <c:pt idx="2259">
                  <c:v>28.379354838709677</c:v>
                </c:pt>
                <c:pt idx="2260">
                  <c:v>29.698709677419355</c:v>
                </c:pt>
                <c:pt idx="2261">
                  <c:v>31.054838709677416</c:v>
                </c:pt>
                <c:pt idx="2262">
                  <c:v>32.361290322580643</c:v>
                </c:pt>
                <c:pt idx="2263">
                  <c:v>33.670645161290324</c:v>
                </c:pt>
                <c:pt idx="2264">
                  <c:v>35.034516129032255</c:v>
                </c:pt>
                <c:pt idx="2265">
                  <c:v>36.404193548387099</c:v>
                </c:pt>
                <c:pt idx="2266">
                  <c:v>37.707096774193552</c:v>
                </c:pt>
                <c:pt idx="2267">
                  <c:v>39.032580645161289</c:v>
                </c:pt>
                <c:pt idx="2268">
                  <c:v>40.373548387096768</c:v>
                </c:pt>
                <c:pt idx="2269">
                  <c:v>41.692580645161293</c:v>
                </c:pt>
                <c:pt idx="2270">
                  <c:v>41.715483870967738</c:v>
                </c:pt>
                <c:pt idx="2271">
                  <c:v>41.707419354838706</c:v>
                </c:pt>
                <c:pt idx="2272">
                  <c:v>41.664193548387097</c:v>
                </c:pt>
                <c:pt idx="2273">
                  <c:v>41.673225806451605</c:v>
                </c:pt>
                <c:pt idx="2274">
                  <c:v>41.670967741935485</c:v>
                </c:pt>
                <c:pt idx="2275">
                  <c:v>41.647419354838711</c:v>
                </c:pt>
                <c:pt idx="2276">
                  <c:v>41.722258064516126</c:v>
                </c:pt>
                <c:pt idx="2277">
                  <c:v>41.697741935483869</c:v>
                </c:pt>
                <c:pt idx="2278">
                  <c:v>41.651935483870965</c:v>
                </c:pt>
                <c:pt idx="2279">
                  <c:v>41.653548387096777</c:v>
                </c:pt>
                <c:pt idx="2280">
                  <c:v>41.687419354838717</c:v>
                </c:pt>
                <c:pt idx="2281">
                  <c:v>41.592903225806445</c:v>
                </c:pt>
                <c:pt idx="2282">
                  <c:v>41.647419354838711</c:v>
                </c:pt>
                <c:pt idx="2283">
                  <c:v>41.537419354838704</c:v>
                </c:pt>
                <c:pt idx="2284">
                  <c:v>41.459354838709672</c:v>
                </c:pt>
                <c:pt idx="2285">
                  <c:v>41.446129032258057</c:v>
                </c:pt>
                <c:pt idx="2286">
                  <c:v>41.501612903225798</c:v>
                </c:pt>
                <c:pt idx="2287">
                  <c:v>41.517096774193547</c:v>
                </c:pt>
                <c:pt idx="2288">
                  <c:v>41.490967741935485</c:v>
                </c:pt>
                <c:pt idx="2289">
                  <c:v>41.520322580645171</c:v>
                </c:pt>
                <c:pt idx="2290">
                  <c:v>41.549354838709682</c:v>
                </c:pt>
                <c:pt idx="2291">
                  <c:v>41.64806451612904</c:v>
                </c:pt>
                <c:pt idx="2292">
                  <c:v>41.644193548387108</c:v>
                </c:pt>
                <c:pt idx="2293">
                  <c:v>41.69161290322581</c:v>
                </c:pt>
                <c:pt idx="2294">
                  <c:v>41.758064516129039</c:v>
                </c:pt>
                <c:pt idx="2295">
                  <c:v>41.811290322580653</c:v>
                </c:pt>
                <c:pt idx="2296">
                  <c:v>41.78161290322582</c:v>
                </c:pt>
                <c:pt idx="2297">
                  <c:v>41.882258064516144</c:v>
                </c:pt>
                <c:pt idx="2298">
                  <c:v>41.95419354838711</c:v>
                </c:pt>
                <c:pt idx="2299">
                  <c:v>42.01903225806452</c:v>
                </c:pt>
                <c:pt idx="2300">
                  <c:v>42.095161290322572</c:v>
                </c:pt>
                <c:pt idx="2301">
                  <c:v>42.077096774193549</c:v>
                </c:pt>
                <c:pt idx="2302">
                  <c:v>42.039032258064516</c:v>
                </c:pt>
                <c:pt idx="2303">
                  <c:v>42.13645161290323</c:v>
                </c:pt>
                <c:pt idx="2304">
                  <c:v>42.023870967741928</c:v>
                </c:pt>
                <c:pt idx="2305">
                  <c:v>42.028064516129028</c:v>
                </c:pt>
                <c:pt idx="2306">
                  <c:v>41.955161290322586</c:v>
                </c:pt>
                <c:pt idx="2307">
                  <c:v>41.943225806451615</c:v>
                </c:pt>
                <c:pt idx="2308">
                  <c:v>42.015806451612903</c:v>
                </c:pt>
                <c:pt idx="2309">
                  <c:v>42.025161290322572</c:v>
                </c:pt>
                <c:pt idx="2310">
                  <c:v>41.922258064516129</c:v>
                </c:pt>
                <c:pt idx="2311">
                  <c:v>41.976451612903219</c:v>
                </c:pt>
                <c:pt idx="2312">
                  <c:v>41.990645161290317</c:v>
                </c:pt>
                <c:pt idx="2313">
                  <c:v>42.025806451612894</c:v>
                </c:pt>
                <c:pt idx="2314">
                  <c:v>42.108709677419348</c:v>
                </c:pt>
                <c:pt idx="2315">
                  <c:v>42.144838709677423</c:v>
                </c:pt>
                <c:pt idx="2316">
                  <c:v>42.167096774193553</c:v>
                </c:pt>
                <c:pt idx="2317">
                  <c:v>42.097096774193545</c:v>
                </c:pt>
                <c:pt idx="2318">
                  <c:v>42.084193548387091</c:v>
                </c:pt>
                <c:pt idx="2319">
                  <c:v>42.120645161290312</c:v>
                </c:pt>
                <c:pt idx="2320">
                  <c:v>42.086451612903225</c:v>
                </c:pt>
                <c:pt idx="2321">
                  <c:v>42.077419354838703</c:v>
                </c:pt>
                <c:pt idx="2322">
                  <c:v>42.072580645161281</c:v>
                </c:pt>
                <c:pt idx="2323">
                  <c:v>42.100645161290316</c:v>
                </c:pt>
                <c:pt idx="2324">
                  <c:v>42.058064516129029</c:v>
                </c:pt>
                <c:pt idx="2325">
                  <c:v>42.013870967741944</c:v>
                </c:pt>
                <c:pt idx="2326">
                  <c:v>41.948387096774205</c:v>
                </c:pt>
                <c:pt idx="2327">
                  <c:v>41.96806451612904</c:v>
                </c:pt>
                <c:pt idx="2328">
                  <c:v>41.934838709677436</c:v>
                </c:pt>
                <c:pt idx="2329">
                  <c:v>41.906129032258079</c:v>
                </c:pt>
                <c:pt idx="2330">
                  <c:v>41.8325806451613</c:v>
                </c:pt>
                <c:pt idx="2331">
                  <c:v>41.759677419354851</c:v>
                </c:pt>
                <c:pt idx="2332">
                  <c:v>41.772258064516137</c:v>
                </c:pt>
                <c:pt idx="2333">
                  <c:v>41.843548387096781</c:v>
                </c:pt>
                <c:pt idx="2334">
                  <c:v>41.822903225806449</c:v>
                </c:pt>
                <c:pt idx="2335">
                  <c:v>41.938387096774193</c:v>
                </c:pt>
                <c:pt idx="2336">
                  <c:v>42.013225806451608</c:v>
                </c:pt>
                <c:pt idx="2337">
                  <c:v>42.108709677419348</c:v>
                </c:pt>
                <c:pt idx="2338">
                  <c:v>42.09225806451613</c:v>
                </c:pt>
                <c:pt idx="2339">
                  <c:v>42.103225806451604</c:v>
                </c:pt>
                <c:pt idx="2340">
                  <c:v>42.201612903225808</c:v>
                </c:pt>
                <c:pt idx="2341">
                  <c:v>42.205161290322586</c:v>
                </c:pt>
                <c:pt idx="2342">
                  <c:v>42.168709677419358</c:v>
                </c:pt>
                <c:pt idx="2343">
                  <c:v>42.16935483870968</c:v>
                </c:pt>
                <c:pt idx="2344">
                  <c:v>42.142903225806457</c:v>
                </c:pt>
                <c:pt idx="2345">
                  <c:v>42.063870967741941</c:v>
                </c:pt>
                <c:pt idx="2346">
                  <c:v>42.112580645161309</c:v>
                </c:pt>
                <c:pt idx="2347">
                  <c:v>42.045806451612911</c:v>
                </c:pt>
                <c:pt idx="2348">
                  <c:v>42.0741935483871</c:v>
                </c:pt>
                <c:pt idx="2349">
                  <c:v>42.115161290322582</c:v>
                </c:pt>
                <c:pt idx="2350">
                  <c:v>42.128064516129037</c:v>
                </c:pt>
                <c:pt idx="2351">
                  <c:v>42.18</c:v>
                </c:pt>
                <c:pt idx="2352">
                  <c:v>42.225483870967743</c:v>
                </c:pt>
                <c:pt idx="2353">
                  <c:v>42.199999999999996</c:v>
                </c:pt>
                <c:pt idx="2354">
                  <c:v>42.157096774193548</c:v>
                </c:pt>
                <c:pt idx="2355">
                  <c:v>42.237419354838714</c:v>
                </c:pt>
                <c:pt idx="2356">
                  <c:v>42.22870967741936</c:v>
                </c:pt>
                <c:pt idx="2357">
                  <c:v>42.22774193548387</c:v>
                </c:pt>
                <c:pt idx="2358">
                  <c:v>42.206451612903223</c:v>
                </c:pt>
                <c:pt idx="2359">
                  <c:v>42.22774193548387</c:v>
                </c:pt>
                <c:pt idx="2360">
                  <c:v>42.215806451612906</c:v>
                </c:pt>
                <c:pt idx="2361">
                  <c:v>42.279677419354833</c:v>
                </c:pt>
                <c:pt idx="2362">
                  <c:v>42.329677419354837</c:v>
                </c:pt>
                <c:pt idx="2363">
                  <c:v>42.325806451612898</c:v>
                </c:pt>
                <c:pt idx="2364">
                  <c:v>42.272903225806445</c:v>
                </c:pt>
                <c:pt idx="2365">
                  <c:v>42.254516129032254</c:v>
                </c:pt>
                <c:pt idx="2366">
                  <c:v>42.160322580645158</c:v>
                </c:pt>
                <c:pt idx="2367">
                  <c:v>42.075483870967737</c:v>
                </c:pt>
                <c:pt idx="2368">
                  <c:v>41.971612903225804</c:v>
                </c:pt>
                <c:pt idx="2369">
                  <c:v>42.022580645161284</c:v>
                </c:pt>
                <c:pt idx="2370">
                  <c:v>42.029354838709665</c:v>
                </c:pt>
                <c:pt idx="2371">
                  <c:v>41.983666666666664</c:v>
                </c:pt>
                <c:pt idx="2372">
                  <c:v>42.021379310344827</c:v>
                </c:pt>
                <c:pt idx="2373">
                  <c:v>42.034285714285708</c:v>
                </c:pt>
                <c:pt idx="2374">
                  <c:v>42.071851851851847</c:v>
                </c:pt>
                <c:pt idx="2375">
                  <c:v>42.059999999999988</c:v>
                </c:pt>
                <c:pt idx="2376">
                  <c:v>42.125599999999991</c:v>
                </c:pt>
                <c:pt idx="2377">
                  <c:v>42.089999999999996</c:v>
                </c:pt>
                <c:pt idx="2378">
                  <c:v>42.130869565217388</c:v>
                </c:pt>
                <c:pt idx="2379">
                  <c:v>42.109090909090909</c:v>
                </c:pt>
                <c:pt idx="2380">
                  <c:v>42.1447619047619</c:v>
                </c:pt>
                <c:pt idx="2381">
                  <c:v>42.128</c:v>
                </c:pt>
                <c:pt idx="2382">
                  <c:v>42.134736842105269</c:v>
                </c:pt>
                <c:pt idx="2383">
                  <c:v>42.034444444444453</c:v>
                </c:pt>
                <c:pt idx="2384">
                  <c:v>41.976470588235301</c:v>
                </c:pt>
                <c:pt idx="2385">
                  <c:v>42.008750000000006</c:v>
                </c:pt>
                <c:pt idx="2386">
                  <c:v>41.93333333333333</c:v>
                </c:pt>
                <c:pt idx="2387">
                  <c:v>41.999285714285712</c:v>
                </c:pt>
                <c:pt idx="2388">
                  <c:v>42.009230769230768</c:v>
                </c:pt>
                <c:pt idx="2389">
                  <c:v>42.052500000000002</c:v>
                </c:pt>
                <c:pt idx="2390">
                  <c:v>41.953636363636363</c:v>
                </c:pt>
                <c:pt idx="2391">
                  <c:v>41.943000000000005</c:v>
                </c:pt>
                <c:pt idx="2392">
                  <c:v>41.794444444444444</c:v>
                </c:pt>
                <c:pt idx="2393">
                  <c:v>41.701250000000002</c:v>
                </c:pt>
                <c:pt idx="2394">
                  <c:v>41.83</c:v>
                </c:pt>
                <c:pt idx="2395">
                  <c:v>41.994999999999997</c:v>
                </c:pt>
                <c:pt idx="2396">
                  <c:v>41.94</c:v>
                </c:pt>
                <c:pt idx="2397">
                  <c:v>42.237499999999997</c:v>
                </c:pt>
                <c:pt idx="2398">
                  <c:v>42.543333333333329</c:v>
                </c:pt>
                <c:pt idx="2399">
                  <c:v>43.55</c:v>
                </c:pt>
              </c:numCache>
            </c:numRef>
          </c:val>
          <c:smooth val="0"/>
          <c:extLst>
            <c:ext xmlns:c16="http://schemas.microsoft.com/office/drawing/2014/chart" uri="{C3380CC4-5D6E-409C-BE32-E72D297353CC}">
              <c16:uniqueId val="{00000000-7066-4E4C-B171-8901FFE3793F}"/>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D$2:$D$2453</c:f>
              <c:numCache>
                <c:formatCode>#,##0.00</c:formatCode>
                <c:ptCount val="2400"/>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20.468709677419358</c:v>
                </c:pt>
                <c:pt idx="2254">
                  <c:v>21.79451612903226</c:v>
                </c:pt>
                <c:pt idx="2255">
                  <c:v>23.162903225806453</c:v>
                </c:pt>
                <c:pt idx="2256">
                  <c:v>24.495161290322581</c:v>
                </c:pt>
                <c:pt idx="2257">
                  <c:v>25.825483870967744</c:v>
                </c:pt>
                <c:pt idx="2258">
                  <c:v>27.183548387096774</c:v>
                </c:pt>
                <c:pt idx="2259">
                  <c:v>28.497419354838712</c:v>
                </c:pt>
                <c:pt idx="2260">
                  <c:v>29.837741935483873</c:v>
                </c:pt>
                <c:pt idx="2261">
                  <c:v>31.203225806451616</c:v>
                </c:pt>
                <c:pt idx="2262">
                  <c:v>32.588387096774191</c:v>
                </c:pt>
                <c:pt idx="2263">
                  <c:v>33.889032258064518</c:v>
                </c:pt>
                <c:pt idx="2264">
                  <c:v>35.196774193548386</c:v>
                </c:pt>
                <c:pt idx="2265">
                  <c:v>36.489999999999995</c:v>
                </c:pt>
                <c:pt idx="2266">
                  <c:v>37.823225806451603</c:v>
                </c:pt>
                <c:pt idx="2267">
                  <c:v>39.203548387096767</c:v>
                </c:pt>
                <c:pt idx="2268">
                  <c:v>40.581935483870957</c:v>
                </c:pt>
                <c:pt idx="2269">
                  <c:v>41.951935483870962</c:v>
                </c:pt>
                <c:pt idx="2270">
                  <c:v>41.951612903225808</c:v>
                </c:pt>
                <c:pt idx="2271">
                  <c:v>41.89290322580645</c:v>
                </c:pt>
                <c:pt idx="2272">
                  <c:v>41.876129032258056</c:v>
                </c:pt>
                <c:pt idx="2273">
                  <c:v>41.894516129032262</c:v>
                </c:pt>
                <c:pt idx="2274">
                  <c:v>41.908709677419353</c:v>
                </c:pt>
                <c:pt idx="2275">
                  <c:v>42.003870967741932</c:v>
                </c:pt>
                <c:pt idx="2276">
                  <c:v>41.967419354838718</c:v>
                </c:pt>
                <c:pt idx="2277">
                  <c:v>42.052580645161292</c:v>
                </c:pt>
                <c:pt idx="2278">
                  <c:v>42.129354838709695</c:v>
                </c:pt>
                <c:pt idx="2279">
                  <c:v>42.15548387096775</c:v>
                </c:pt>
                <c:pt idx="2280">
                  <c:v>42.189354838709683</c:v>
                </c:pt>
                <c:pt idx="2281">
                  <c:v>42.170000000000009</c:v>
                </c:pt>
                <c:pt idx="2282">
                  <c:v>42.100645161290331</c:v>
                </c:pt>
                <c:pt idx="2283">
                  <c:v>42.013870967741944</c:v>
                </c:pt>
                <c:pt idx="2284">
                  <c:v>41.98612903225807</c:v>
                </c:pt>
                <c:pt idx="2285">
                  <c:v>41.981290322580648</c:v>
                </c:pt>
                <c:pt idx="2286">
                  <c:v>42.026129032258069</c:v>
                </c:pt>
                <c:pt idx="2287">
                  <c:v>41.989354838709687</c:v>
                </c:pt>
                <c:pt idx="2288">
                  <c:v>41.956129032258076</c:v>
                </c:pt>
                <c:pt idx="2289">
                  <c:v>41.952903225806459</c:v>
                </c:pt>
                <c:pt idx="2290">
                  <c:v>41.937741935483878</c:v>
                </c:pt>
                <c:pt idx="2291">
                  <c:v>41.981612903225809</c:v>
                </c:pt>
                <c:pt idx="2292">
                  <c:v>41.917741935483875</c:v>
                </c:pt>
                <c:pt idx="2293">
                  <c:v>41.862580645161287</c:v>
                </c:pt>
                <c:pt idx="2294">
                  <c:v>41.95870967741935</c:v>
                </c:pt>
                <c:pt idx="2295">
                  <c:v>41.994516129032263</c:v>
                </c:pt>
                <c:pt idx="2296">
                  <c:v>41.997419354838712</c:v>
                </c:pt>
                <c:pt idx="2297">
                  <c:v>42.006129032258059</c:v>
                </c:pt>
                <c:pt idx="2298">
                  <c:v>41.998387096774188</c:v>
                </c:pt>
                <c:pt idx="2299">
                  <c:v>42.006129032258059</c:v>
                </c:pt>
                <c:pt idx="2300">
                  <c:v>42.022903225806459</c:v>
                </c:pt>
                <c:pt idx="2301">
                  <c:v>42.030322580645155</c:v>
                </c:pt>
                <c:pt idx="2302">
                  <c:v>42.096129032258055</c:v>
                </c:pt>
                <c:pt idx="2303">
                  <c:v>42.15</c:v>
                </c:pt>
                <c:pt idx="2304">
                  <c:v>42.148064516129033</c:v>
                </c:pt>
                <c:pt idx="2305">
                  <c:v>42.07870967741934</c:v>
                </c:pt>
                <c:pt idx="2306">
                  <c:v>42.094838709677411</c:v>
                </c:pt>
                <c:pt idx="2307">
                  <c:v>42.062258064516122</c:v>
                </c:pt>
                <c:pt idx="2308">
                  <c:v>42.021612903225808</c:v>
                </c:pt>
                <c:pt idx="2309">
                  <c:v>41.910000000000004</c:v>
                </c:pt>
                <c:pt idx="2310">
                  <c:v>41.808064516129036</c:v>
                </c:pt>
                <c:pt idx="2311">
                  <c:v>41.784838709677423</c:v>
                </c:pt>
                <c:pt idx="2312">
                  <c:v>41.771290322580647</c:v>
                </c:pt>
                <c:pt idx="2313">
                  <c:v>41.729354838709682</c:v>
                </c:pt>
                <c:pt idx="2314">
                  <c:v>41.74</c:v>
                </c:pt>
                <c:pt idx="2315">
                  <c:v>41.762258064516132</c:v>
                </c:pt>
                <c:pt idx="2316">
                  <c:v>41.758709677419354</c:v>
                </c:pt>
                <c:pt idx="2317">
                  <c:v>41.756451612903227</c:v>
                </c:pt>
                <c:pt idx="2318">
                  <c:v>41.755806451612898</c:v>
                </c:pt>
                <c:pt idx="2319">
                  <c:v>41.848387096774182</c:v>
                </c:pt>
                <c:pt idx="2320">
                  <c:v>41.801612903225802</c:v>
                </c:pt>
                <c:pt idx="2321">
                  <c:v>41.814193548387095</c:v>
                </c:pt>
                <c:pt idx="2322">
                  <c:v>41.7541935483871</c:v>
                </c:pt>
                <c:pt idx="2323">
                  <c:v>41.846129032258062</c:v>
                </c:pt>
                <c:pt idx="2324">
                  <c:v>41.927096774193551</c:v>
                </c:pt>
                <c:pt idx="2325">
                  <c:v>41.90225806451614</c:v>
                </c:pt>
                <c:pt idx="2326">
                  <c:v>41.858387096774194</c:v>
                </c:pt>
                <c:pt idx="2327">
                  <c:v>41.857741935483872</c:v>
                </c:pt>
                <c:pt idx="2328">
                  <c:v>41.822903225806449</c:v>
                </c:pt>
                <c:pt idx="2329">
                  <c:v>41.789354838709677</c:v>
                </c:pt>
                <c:pt idx="2330">
                  <c:v>41.783870967741933</c:v>
                </c:pt>
                <c:pt idx="2331">
                  <c:v>41.7</c:v>
                </c:pt>
                <c:pt idx="2332">
                  <c:v>41.671612903225814</c:v>
                </c:pt>
                <c:pt idx="2333">
                  <c:v>41.643548387096779</c:v>
                </c:pt>
                <c:pt idx="2334">
                  <c:v>41.67032258064517</c:v>
                </c:pt>
                <c:pt idx="2335">
                  <c:v>41.623870967741944</c:v>
                </c:pt>
                <c:pt idx="2336">
                  <c:v>41.604193548387101</c:v>
                </c:pt>
                <c:pt idx="2337">
                  <c:v>41.564838709677417</c:v>
                </c:pt>
                <c:pt idx="2338">
                  <c:v>41.537419354838711</c:v>
                </c:pt>
                <c:pt idx="2339">
                  <c:v>41.557096774193539</c:v>
                </c:pt>
                <c:pt idx="2340">
                  <c:v>41.598387096774189</c:v>
                </c:pt>
                <c:pt idx="2341">
                  <c:v>41.629354838709666</c:v>
                </c:pt>
                <c:pt idx="2342">
                  <c:v>41.629999999999988</c:v>
                </c:pt>
                <c:pt idx="2343">
                  <c:v>41.621290322580641</c:v>
                </c:pt>
                <c:pt idx="2344">
                  <c:v>41.73</c:v>
                </c:pt>
                <c:pt idx="2345">
                  <c:v>41.733548387096775</c:v>
                </c:pt>
                <c:pt idx="2346">
                  <c:v>41.781935483870967</c:v>
                </c:pt>
                <c:pt idx="2347">
                  <c:v>41.851935483870967</c:v>
                </c:pt>
                <c:pt idx="2348">
                  <c:v>41.852258064516136</c:v>
                </c:pt>
                <c:pt idx="2349">
                  <c:v>41.906774193548401</c:v>
                </c:pt>
                <c:pt idx="2350">
                  <c:v>41.920967741935485</c:v>
                </c:pt>
                <c:pt idx="2351">
                  <c:v>41.967741935483872</c:v>
                </c:pt>
                <c:pt idx="2352">
                  <c:v>42.000322580645161</c:v>
                </c:pt>
                <c:pt idx="2353">
                  <c:v>42.028387096774203</c:v>
                </c:pt>
                <c:pt idx="2354">
                  <c:v>41.958709677419357</c:v>
                </c:pt>
                <c:pt idx="2355">
                  <c:v>41.862903225806456</c:v>
                </c:pt>
                <c:pt idx="2356">
                  <c:v>41.832903225806454</c:v>
                </c:pt>
                <c:pt idx="2357">
                  <c:v>41.855806451612906</c:v>
                </c:pt>
                <c:pt idx="2358">
                  <c:v>41.918064516129036</c:v>
                </c:pt>
                <c:pt idx="2359">
                  <c:v>42.004838709677415</c:v>
                </c:pt>
                <c:pt idx="2360">
                  <c:v>41.983870967741929</c:v>
                </c:pt>
                <c:pt idx="2361">
                  <c:v>41.965806451612899</c:v>
                </c:pt>
                <c:pt idx="2362">
                  <c:v>42.033225806451604</c:v>
                </c:pt>
                <c:pt idx="2363">
                  <c:v>42.035483870967731</c:v>
                </c:pt>
                <c:pt idx="2364">
                  <c:v>42.046129032258058</c:v>
                </c:pt>
                <c:pt idx="2365">
                  <c:v>42.035806451612899</c:v>
                </c:pt>
                <c:pt idx="2366">
                  <c:v>42.048387096774185</c:v>
                </c:pt>
                <c:pt idx="2367">
                  <c:v>42.108064516129026</c:v>
                </c:pt>
                <c:pt idx="2368">
                  <c:v>42.042258064516126</c:v>
                </c:pt>
                <c:pt idx="2369">
                  <c:v>42.10516129032257</c:v>
                </c:pt>
                <c:pt idx="2370">
                  <c:v>42.068064516129027</c:v>
                </c:pt>
                <c:pt idx="2371">
                  <c:v>42.087333333333326</c:v>
                </c:pt>
                <c:pt idx="2372">
                  <c:v>42.104482758620691</c:v>
                </c:pt>
                <c:pt idx="2373">
                  <c:v>42.132857142857141</c:v>
                </c:pt>
                <c:pt idx="2374">
                  <c:v>42.14222222222223</c:v>
                </c:pt>
                <c:pt idx="2375">
                  <c:v>42.081153846153853</c:v>
                </c:pt>
                <c:pt idx="2376">
                  <c:v>42.096000000000004</c:v>
                </c:pt>
                <c:pt idx="2377">
                  <c:v>42.090833333333343</c:v>
                </c:pt>
                <c:pt idx="2378">
                  <c:v>42.050869565217397</c:v>
                </c:pt>
                <c:pt idx="2379">
                  <c:v>41.973636363636366</c:v>
                </c:pt>
                <c:pt idx="2380">
                  <c:v>41.980476190476189</c:v>
                </c:pt>
                <c:pt idx="2381">
                  <c:v>41.903500000000008</c:v>
                </c:pt>
                <c:pt idx="2382">
                  <c:v>41.898421052631583</c:v>
                </c:pt>
                <c:pt idx="2383">
                  <c:v>41.911666666666669</c:v>
                </c:pt>
                <c:pt idx="2384">
                  <c:v>41.911176470588238</c:v>
                </c:pt>
                <c:pt idx="2385">
                  <c:v>41.965625000000003</c:v>
                </c:pt>
                <c:pt idx="2386">
                  <c:v>42.045333333333332</c:v>
                </c:pt>
                <c:pt idx="2387">
                  <c:v>42.07714285714286</c:v>
                </c:pt>
                <c:pt idx="2388">
                  <c:v>42.160000000000004</c:v>
                </c:pt>
                <c:pt idx="2389">
                  <c:v>42.165833333333332</c:v>
                </c:pt>
                <c:pt idx="2390">
                  <c:v>42.07090909090909</c:v>
                </c:pt>
                <c:pt idx="2391">
                  <c:v>42.191999999999993</c:v>
                </c:pt>
                <c:pt idx="2392">
                  <c:v>42.18666666666666</c:v>
                </c:pt>
                <c:pt idx="2393">
                  <c:v>42.15</c:v>
                </c:pt>
                <c:pt idx="2394">
                  <c:v>42.132857142857141</c:v>
                </c:pt>
                <c:pt idx="2395">
                  <c:v>42.101666666666667</c:v>
                </c:pt>
                <c:pt idx="2396">
                  <c:v>41.892000000000003</c:v>
                </c:pt>
                <c:pt idx="2397">
                  <c:v>41.962500000000006</c:v>
                </c:pt>
                <c:pt idx="2398">
                  <c:v>41.836666666666666</c:v>
                </c:pt>
                <c:pt idx="2399">
                  <c:v>42.414999999999999</c:v>
                </c:pt>
              </c:numCache>
            </c:numRef>
          </c:val>
          <c:smooth val="0"/>
          <c:extLst>
            <c:ext xmlns:c16="http://schemas.microsoft.com/office/drawing/2014/chart" uri="{C3380CC4-5D6E-409C-BE32-E72D297353CC}">
              <c16:uniqueId val="{00000001-7066-4E4C-B171-8901FFE3793F}"/>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E$2:$E$2453</c:f>
              <c:numCache>
                <c:formatCode>#,##0.00</c:formatCode>
                <c:ptCount val="2400"/>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43.677419354838712</c:v>
                </c:pt>
                <c:pt idx="2254">
                  <c:v>46.903225806451616</c:v>
                </c:pt>
                <c:pt idx="2255">
                  <c:v>49.903225806451616</c:v>
                </c:pt>
                <c:pt idx="2256">
                  <c:v>52.774193548387096</c:v>
                </c:pt>
                <c:pt idx="2257">
                  <c:v>55.645161290322584</c:v>
                </c:pt>
                <c:pt idx="2258">
                  <c:v>58.645161290322584</c:v>
                </c:pt>
                <c:pt idx="2259">
                  <c:v>61.741935483870968</c:v>
                </c:pt>
                <c:pt idx="2260">
                  <c:v>64.645161290322577</c:v>
                </c:pt>
                <c:pt idx="2261">
                  <c:v>67.451612903225808</c:v>
                </c:pt>
                <c:pt idx="2262">
                  <c:v>70.612903225806448</c:v>
                </c:pt>
                <c:pt idx="2263">
                  <c:v>73.741935483870961</c:v>
                </c:pt>
                <c:pt idx="2264">
                  <c:v>76.903225806451616</c:v>
                </c:pt>
                <c:pt idx="2265">
                  <c:v>80.129032258064512</c:v>
                </c:pt>
                <c:pt idx="2266">
                  <c:v>82.774193548387103</c:v>
                </c:pt>
                <c:pt idx="2267">
                  <c:v>85.870967741935488</c:v>
                </c:pt>
                <c:pt idx="2268">
                  <c:v>88.483870967741936</c:v>
                </c:pt>
                <c:pt idx="2269">
                  <c:v>91.58064516129032</c:v>
                </c:pt>
                <c:pt idx="2270">
                  <c:v>91.322580645161295</c:v>
                </c:pt>
                <c:pt idx="2271">
                  <c:v>91.258064516129039</c:v>
                </c:pt>
                <c:pt idx="2272">
                  <c:v>90.612903225806448</c:v>
                </c:pt>
                <c:pt idx="2273">
                  <c:v>90.677419354838705</c:v>
                </c:pt>
                <c:pt idx="2274">
                  <c:v>90.838709677419359</c:v>
                </c:pt>
                <c:pt idx="2275">
                  <c:v>90.967741935483872</c:v>
                </c:pt>
                <c:pt idx="2276">
                  <c:v>90.548387096774192</c:v>
                </c:pt>
                <c:pt idx="2277">
                  <c:v>91.129032258064512</c:v>
                </c:pt>
                <c:pt idx="2278">
                  <c:v>91.032258064516128</c:v>
                </c:pt>
                <c:pt idx="2279">
                  <c:v>91.193548387096769</c:v>
                </c:pt>
                <c:pt idx="2280">
                  <c:v>91.225806451612897</c:v>
                </c:pt>
                <c:pt idx="2281">
                  <c:v>91.129032258064512</c:v>
                </c:pt>
                <c:pt idx="2282">
                  <c:v>91.258064516129039</c:v>
                </c:pt>
                <c:pt idx="2283">
                  <c:v>91.032258064516128</c:v>
                </c:pt>
                <c:pt idx="2284">
                  <c:v>90.645161290322577</c:v>
                </c:pt>
                <c:pt idx="2285">
                  <c:v>90.032258064516128</c:v>
                </c:pt>
                <c:pt idx="2286">
                  <c:v>89.709677419354833</c:v>
                </c:pt>
                <c:pt idx="2287">
                  <c:v>89.741935483870961</c:v>
                </c:pt>
                <c:pt idx="2288">
                  <c:v>89.58064516129032</c:v>
                </c:pt>
                <c:pt idx="2289">
                  <c:v>89.193548387096769</c:v>
                </c:pt>
                <c:pt idx="2290">
                  <c:v>88.741935483870961</c:v>
                </c:pt>
                <c:pt idx="2291">
                  <c:v>88.677419354838705</c:v>
                </c:pt>
                <c:pt idx="2292">
                  <c:v>88.483870967741936</c:v>
                </c:pt>
                <c:pt idx="2293">
                  <c:v>88.193548387096769</c:v>
                </c:pt>
                <c:pt idx="2294">
                  <c:v>87.741935483870961</c:v>
                </c:pt>
                <c:pt idx="2295">
                  <c:v>87.483870967741936</c:v>
                </c:pt>
                <c:pt idx="2296">
                  <c:v>87.354838709677423</c:v>
                </c:pt>
                <c:pt idx="2297">
                  <c:v>87.58064516129032</c:v>
                </c:pt>
                <c:pt idx="2298">
                  <c:v>87.612903225806448</c:v>
                </c:pt>
                <c:pt idx="2299">
                  <c:v>88.032258064516128</c:v>
                </c:pt>
                <c:pt idx="2300">
                  <c:v>87.903225806451616</c:v>
                </c:pt>
                <c:pt idx="2301">
                  <c:v>87.806451612903231</c:v>
                </c:pt>
                <c:pt idx="2302">
                  <c:v>87.870967741935488</c:v>
                </c:pt>
                <c:pt idx="2303">
                  <c:v>88.387096774193552</c:v>
                </c:pt>
                <c:pt idx="2304">
                  <c:v>88.193548387096769</c:v>
                </c:pt>
                <c:pt idx="2305">
                  <c:v>88.193548387096769</c:v>
                </c:pt>
                <c:pt idx="2306">
                  <c:v>87.935483870967744</c:v>
                </c:pt>
                <c:pt idx="2307">
                  <c:v>88.290322580645167</c:v>
                </c:pt>
                <c:pt idx="2308">
                  <c:v>87.677419354838705</c:v>
                </c:pt>
                <c:pt idx="2309">
                  <c:v>88</c:v>
                </c:pt>
                <c:pt idx="2310">
                  <c:v>87.58064516129032</c:v>
                </c:pt>
                <c:pt idx="2311">
                  <c:v>87.483870967741936</c:v>
                </c:pt>
                <c:pt idx="2312">
                  <c:v>87.354838709677423</c:v>
                </c:pt>
                <c:pt idx="2313">
                  <c:v>87.41935483870968</c:v>
                </c:pt>
                <c:pt idx="2314">
                  <c:v>87.967741935483872</c:v>
                </c:pt>
                <c:pt idx="2315">
                  <c:v>88.096774193548384</c:v>
                </c:pt>
                <c:pt idx="2316">
                  <c:v>88.612903225806448</c:v>
                </c:pt>
                <c:pt idx="2317">
                  <c:v>88.677419354838705</c:v>
                </c:pt>
                <c:pt idx="2318">
                  <c:v>88.677419354838705</c:v>
                </c:pt>
                <c:pt idx="2319">
                  <c:v>89</c:v>
                </c:pt>
                <c:pt idx="2320">
                  <c:v>89.032258064516128</c:v>
                </c:pt>
                <c:pt idx="2321">
                  <c:v>89.58064516129032</c:v>
                </c:pt>
                <c:pt idx="2322">
                  <c:v>89.741935483870961</c:v>
                </c:pt>
                <c:pt idx="2323">
                  <c:v>90.322580645161295</c:v>
                </c:pt>
                <c:pt idx="2324">
                  <c:v>90.032258064516128</c:v>
                </c:pt>
                <c:pt idx="2325">
                  <c:v>89.967741935483872</c:v>
                </c:pt>
                <c:pt idx="2326">
                  <c:v>89.677419354838705</c:v>
                </c:pt>
                <c:pt idx="2327">
                  <c:v>89.322580645161295</c:v>
                </c:pt>
                <c:pt idx="2328">
                  <c:v>89.161290322580641</c:v>
                </c:pt>
                <c:pt idx="2329">
                  <c:v>89.032258064516128</c:v>
                </c:pt>
                <c:pt idx="2330">
                  <c:v>88.935483870967744</c:v>
                </c:pt>
                <c:pt idx="2331">
                  <c:v>88.645161290322577</c:v>
                </c:pt>
                <c:pt idx="2332">
                  <c:v>88.774193548387103</c:v>
                </c:pt>
                <c:pt idx="2333">
                  <c:v>89.032258064516128</c:v>
                </c:pt>
                <c:pt idx="2334">
                  <c:v>89.064516129032256</c:v>
                </c:pt>
                <c:pt idx="2335">
                  <c:v>89.225806451612897</c:v>
                </c:pt>
                <c:pt idx="2336">
                  <c:v>89.322580645161295</c:v>
                </c:pt>
                <c:pt idx="2337">
                  <c:v>89.129032258064512</c:v>
                </c:pt>
                <c:pt idx="2338">
                  <c:v>88.935483870967744</c:v>
                </c:pt>
                <c:pt idx="2339">
                  <c:v>89.129032258064512</c:v>
                </c:pt>
                <c:pt idx="2340">
                  <c:v>88.870967741935488</c:v>
                </c:pt>
                <c:pt idx="2341">
                  <c:v>88.935483870967744</c:v>
                </c:pt>
                <c:pt idx="2342">
                  <c:v>89.451612903225808</c:v>
                </c:pt>
                <c:pt idx="2343">
                  <c:v>89.387096774193552</c:v>
                </c:pt>
                <c:pt idx="2344">
                  <c:v>89.612903225806448</c:v>
                </c:pt>
                <c:pt idx="2345">
                  <c:v>89.58064516129032</c:v>
                </c:pt>
                <c:pt idx="2346">
                  <c:v>89.58064516129032</c:v>
                </c:pt>
                <c:pt idx="2347">
                  <c:v>89.41935483870968</c:v>
                </c:pt>
                <c:pt idx="2348">
                  <c:v>89.258064516129039</c:v>
                </c:pt>
                <c:pt idx="2349">
                  <c:v>89.58064516129032</c:v>
                </c:pt>
                <c:pt idx="2350">
                  <c:v>89.58064516129032</c:v>
                </c:pt>
                <c:pt idx="2351">
                  <c:v>89.838709677419359</c:v>
                </c:pt>
                <c:pt idx="2352">
                  <c:v>89.612903225806448</c:v>
                </c:pt>
                <c:pt idx="2353">
                  <c:v>89.225806451612897</c:v>
                </c:pt>
                <c:pt idx="2354">
                  <c:v>88.967741935483872</c:v>
                </c:pt>
                <c:pt idx="2355">
                  <c:v>89.451612903225808</c:v>
                </c:pt>
                <c:pt idx="2356">
                  <c:v>90.064516129032256</c:v>
                </c:pt>
                <c:pt idx="2357">
                  <c:v>90.483870967741936</c:v>
                </c:pt>
                <c:pt idx="2358">
                  <c:v>90.806451612903231</c:v>
                </c:pt>
                <c:pt idx="2359">
                  <c:v>90.741935483870961</c:v>
                </c:pt>
                <c:pt idx="2360">
                  <c:v>90.58064516129032</c:v>
                </c:pt>
                <c:pt idx="2361">
                  <c:v>90.387096774193552</c:v>
                </c:pt>
                <c:pt idx="2362">
                  <c:v>90.483870967741936</c:v>
                </c:pt>
                <c:pt idx="2363">
                  <c:v>90.741935483870961</c:v>
                </c:pt>
                <c:pt idx="2364">
                  <c:v>90.645161290322577</c:v>
                </c:pt>
                <c:pt idx="2365">
                  <c:v>90.516129032258064</c:v>
                </c:pt>
                <c:pt idx="2366">
                  <c:v>90.129032258064512</c:v>
                </c:pt>
                <c:pt idx="2367">
                  <c:v>90.225806451612897</c:v>
                </c:pt>
                <c:pt idx="2368">
                  <c:v>90.516129032258064</c:v>
                </c:pt>
                <c:pt idx="2369">
                  <c:v>90.516129032258064</c:v>
                </c:pt>
                <c:pt idx="2370">
                  <c:v>90.612903225806448</c:v>
                </c:pt>
                <c:pt idx="2371">
                  <c:v>90.7</c:v>
                </c:pt>
                <c:pt idx="2372">
                  <c:v>90.965517241379317</c:v>
                </c:pt>
                <c:pt idx="2373">
                  <c:v>90.785714285714292</c:v>
                </c:pt>
                <c:pt idx="2374">
                  <c:v>91.148148148148152</c:v>
                </c:pt>
                <c:pt idx="2375">
                  <c:v>91.07692307692308</c:v>
                </c:pt>
                <c:pt idx="2376">
                  <c:v>90.8</c:v>
                </c:pt>
                <c:pt idx="2377">
                  <c:v>91.083333333333329</c:v>
                </c:pt>
                <c:pt idx="2378">
                  <c:v>91.043478260869563</c:v>
                </c:pt>
                <c:pt idx="2379">
                  <c:v>91.545454545454547</c:v>
                </c:pt>
                <c:pt idx="2380">
                  <c:v>91.142857142857139</c:v>
                </c:pt>
                <c:pt idx="2381">
                  <c:v>91</c:v>
                </c:pt>
                <c:pt idx="2382">
                  <c:v>91.05263157894737</c:v>
                </c:pt>
                <c:pt idx="2383">
                  <c:v>91</c:v>
                </c:pt>
                <c:pt idx="2384">
                  <c:v>91.588235294117652</c:v>
                </c:pt>
                <c:pt idx="2385">
                  <c:v>91.625</c:v>
                </c:pt>
                <c:pt idx="2386">
                  <c:v>91.4</c:v>
                </c:pt>
                <c:pt idx="2387">
                  <c:v>90.785714285714292</c:v>
                </c:pt>
                <c:pt idx="2388">
                  <c:v>90.538461538461533</c:v>
                </c:pt>
                <c:pt idx="2389">
                  <c:v>90.166666666666671</c:v>
                </c:pt>
                <c:pt idx="2390">
                  <c:v>90.909090909090907</c:v>
                </c:pt>
                <c:pt idx="2391">
                  <c:v>91.2</c:v>
                </c:pt>
                <c:pt idx="2392">
                  <c:v>91.888888888888886</c:v>
                </c:pt>
                <c:pt idx="2393">
                  <c:v>92.625</c:v>
                </c:pt>
                <c:pt idx="2394">
                  <c:v>91.714285714285708</c:v>
                </c:pt>
                <c:pt idx="2395">
                  <c:v>91.333333333333329</c:v>
                </c:pt>
                <c:pt idx="2396">
                  <c:v>91</c:v>
                </c:pt>
                <c:pt idx="2397">
                  <c:v>92</c:v>
                </c:pt>
                <c:pt idx="2398">
                  <c:v>89.333333333333329</c:v>
                </c:pt>
                <c:pt idx="2399">
                  <c:v>89.5</c:v>
                </c:pt>
              </c:numCache>
            </c:numRef>
          </c:val>
          <c:smooth val="0"/>
          <c:extLst>
            <c:ext xmlns:c16="http://schemas.microsoft.com/office/drawing/2014/chart" uri="{C3380CC4-5D6E-409C-BE32-E72D297353CC}">
              <c16:uniqueId val="{00000002-7066-4E4C-B171-8901FFE3793F}"/>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F$2:$F$2453</c:f>
              <c:numCache>
                <c:formatCode>#,##0.00</c:formatCode>
                <c:ptCount val="2400"/>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96.451612903225808</c:v>
                </c:pt>
                <c:pt idx="2254">
                  <c:v>103.45161290322581</c:v>
                </c:pt>
                <c:pt idx="2255">
                  <c:v>109.61290322580645</c:v>
                </c:pt>
                <c:pt idx="2256">
                  <c:v>116.54838709677419</c:v>
                </c:pt>
                <c:pt idx="2257">
                  <c:v>123.41935483870968</c:v>
                </c:pt>
                <c:pt idx="2258">
                  <c:v>129.87096774193549</c:v>
                </c:pt>
                <c:pt idx="2259">
                  <c:v>136.2258064516129</c:v>
                </c:pt>
                <c:pt idx="2260">
                  <c:v>142.67741935483872</c:v>
                </c:pt>
                <c:pt idx="2261">
                  <c:v>148.61290322580646</c:v>
                </c:pt>
                <c:pt idx="2262">
                  <c:v>154.54838709677421</c:v>
                </c:pt>
                <c:pt idx="2263">
                  <c:v>160.80645161290323</c:v>
                </c:pt>
                <c:pt idx="2264">
                  <c:v>166.96774193548387</c:v>
                </c:pt>
                <c:pt idx="2265">
                  <c:v>174.06451612903226</c:v>
                </c:pt>
                <c:pt idx="2266">
                  <c:v>180.74193548387098</c:v>
                </c:pt>
                <c:pt idx="2267">
                  <c:v>187.64516129032259</c:v>
                </c:pt>
                <c:pt idx="2268">
                  <c:v>194.38709677419354</c:v>
                </c:pt>
                <c:pt idx="2269">
                  <c:v>200.48387096774192</c:v>
                </c:pt>
                <c:pt idx="2270">
                  <c:v>201.32258064516128</c:v>
                </c:pt>
                <c:pt idx="2271">
                  <c:v>202.25806451612902</c:v>
                </c:pt>
                <c:pt idx="2272">
                  <c:v>202.35483870967741</c:v>
                </c:pt>
                <c:pt idx="2273">
                  <c:v>201.7741935483871</c:v>
                </c:pt>
                <c:pt idx="2274">
                  <c:v>200.61290322580646</c:v>
                </c:pt>
                <c:pt idx="2275">
                  <c:v>200.74193548387098</c:v>
                </c:pt>
                <c:pt idx="2276">
                  <c:v>201.35483870967741</c:v>
                </c:pt>
                <c:pt idx="2277">
                  <c:v>201.32258064516128</c:v>
                </c:pt>
                <c:pt idx="2278">
                  <c:v>202</c:v>
                </c:pt>
                <c:pt idx="2279">
                  <c:v>201.12903225806451</c:v>
                </c:pt>
                <c:pt idx="2280">
                  <c:v>200.25806451612902</c:v>
                </c:pt>
                <c:pt idx="2281">
                  <c:v>199.87096774193549</c:v>
                </c:pt>
                <c:pt idx="2282">
                  <c:v>199.38709677419354</c:v>
                </c:pt>
                <c:pt idx="2283">
                  <c:v>199.54838709677421</c:v>
                </c:pt>
                <c:pt idx="2284">
                  <c:v>199.12903225806451</c:v>
                </c:pt>
                <c:pt idx="2285">
                  <c:v>198.09677419354838</c:v>
                </c:pt>
                <c:pt idx="2286">
                  <c:v>198.83870967741936</c:v>
                </c:pt>
                <c:pt idx="2287">
                  <c:v>198.87096774193549</c:v>
                </c:pt>
                <c:pt idx="2288">
                  <c:v>197.93548387096774</c:v>
                </c:pt>
                <c:pt idx="2289">
                  <c:v>197.29032258064515</c:v>
                </c:pt>
                <c:pt idx="2290">
                  <c:v>197.93548387096774</c:v>
                </c:pt>
                <c:pt idx="2291">
                  <c:v>197.64516129032259</c:v>
                </c:pt>
                <c:pt idx="2292">
                  <c:v>198.32258064516128</c:v>
                </c:pt>
                <c:pt idx="2293">
                  <c:v>199.29032258064515</c:v>
                </c:pt>
                <c:pt idx="2294">
                  <c:v>200.06451612903226</c:v>
                </c:pt>
                <c:pt idx="2295">
                  <c:v>199.90322580645162</c:v>
                </c:pt>
                <c:pt idx="2296">
                  <c:v>199.67741935483872</c:v>
                </c:pt>
                <c:pt idx="2297">
                  <c:v>199.16129032258064</c:v>
                </c:pt>
                <c:pt idx="2298">
                  <c:v>199.09677419354838</c:v>
                </c:pt>
                <c:pt idx="2299">
                  <c:v>198.87096774193549</c:v>
                </c:pt>
                <c:pt idx="2300">
                  <c:v>199.61290322580646</c:v>
                </c:pt>
                <c:pt idx="2301">
                  <c:v>198.54838709677421</c:v>
                </c:pt>
                <c:pt idx="2302">
                  <c:v>198.70967741935485</c:v>
                </c:pt>
                <c:pt idx="2303">
                  <c:v>198.06451612903226</c:v>
                </c:pt>
                <c:pt idx="2304">
                  <c:v>199.06451612903226</c:v>
                </c:pt>
                <c:pt idx="2305">
                  <c:v>200.03225806451613</c:v>
                </c:pt>
                <c:pt idx="2306">
                  <c:v>200.03225806451613</c:v>
                </c:pt>
                <c:pt idx="2307">
                  <c:v>200.03225806451613</c:v>
                </c:pt>
                <c:pt idx="2308">
                  <c:v>199.58064516129033</c:v>
                </c:pt>
                <c:pt idx="2309">
                  <c:v>199.64516129032259</c:v>
                </c:pt>
                <c:pt idx="2310">
                  <c:v>199.90322580645162</c:v>
                </c:pt>
                <c:pt idx="2311">
                  <c:v>199.83870967741936</c:v>
                </c:pt>
                <c:pt idx="2312">
                  <c:v>199.67741935483872</c:v>
                </c:pt>
                <c:pt idx="2313">
                  <c:v>200.64516129032259</c:v>
                </c:pt>
                <c:pt idx="2314">
                  <c:v>200.70967741935485</c:v>
                </c:pt>
                <c:pt idx="2315">
                  <c:v>200.70967741935485</c:v>
                </c:pt>
                <c:pt idx="2316">
                  <c:v>201.67741935483872</c:v>
                </c:pt>
                <c:pt idx="2317">
                  <c:v>201.35483870967741</c:v>
                </c:pt>
                <c:pt idx="2318">
                  <c:v>201.45161290322579</c:v>
                </c:pt>
                <c:pt idx="2319">
                  <c:v>201.67741935483872</c:v>
                </c:pt>
                <c:pt idx="2320">
                  <c:v>202.67741935483872</c:v>
                </c:pt>
                <c:pt idx="2321">
                  <c:v>201.64516129032259</c:v>
                </c:pt>
                <c:pt idx="2322">
                  <c:v>201.87096774193549</c:v>
                </c:pt>
                <c:pt idx="2323">
                  <c:v>201.96774193548387</c:v>
                </c:pt>
                <c:pt idx="2324">
                  <c:v>201.19354838709677</c:v>
                </c:pt>
                <c:pt idx="2325">
                  <c:v>201.03225806451613</c:v>
                </c:pt>
                <c:pt idx="2326">
                  <c:v>201.35483870967741</c:v>
                </c:pt>
                <c:pt idx="2327">
                  <c:v>200.41935483870967</c:v>
                </c:pt>
                <c:pt idx="2328">
                  <c:v>200.61290322580646</c:v>
                </c:pt>
                <c:pt idx="2329">
                  <c:v>200.61290322580646</c:v>
                </c:pt>
                <c:pt idx="2330">
                  <c:v>200.45161290322579</c:v>
                </c:pt>
                <c:pt idx="2331">
                  <c:v>200.06451612903226</c:v>
                </c:pt>
                <c:pt idx="2332">
                  <c:v>200.12903225806451</c:v>
                </c:pt>
                <c:pt idx="2333">
                  <c:v>199.70967741935485</c:v>
                </c:pt>
                <c:pt idx="2334">
                  <c:v>200.41935483870967</c:v>
                </c:pt>
                <c:pt idx="2335">
                  <c:v>200.2258064516129</c:v>
                </c:pt>
                <c:pt idx="2336">
                  <c:v>199.87096774193549</c:v>
                </c:pt>
                <c:pt idx="2337">
                  <c:v>199.83870967741936</c:v>
                </c:pt>
                <c:pt idx="2338">
                  <c:v>200</c:v>
                </c:pt>
                <c:pt idx="2339">
                  <c:v>200.03225806451613</c:v>
                </c:pt>
                <c:pt idx="2340">
                  <c:v>199.90322580645162</c:v>
                </c:pt>
                <c:pt idx="2341">
                  <c:v>199.87096774193549</c:v>
                </c:pt>
                <c:pt idx="2342">
                  <c:v>200.16129032258064</c:v>
                </c:pt>
                <c:pt idx="2343">
                  <c:v>200.58064516129033</c:v>
                </c:pt>
                <c:pt idx="2344">
                  <c:v>200.38709677419354</c:v>
                </c:pt>
                <c:pt idx="2345">
                  <c:v>200.96774193548387</c:v>
                </c:pt>
                <c:pt idx="2346">
                  <c:v>201.45161290322579</c:v>
                </c:pt>
                <c:pt idx="2347">
                  <c:v>201.35483870967741</c:v>
                </c:pt>
                <c:pt idx="2348">
                  <c:v>200.64516129032259</c:v>
                </c:pt>
                <c:pt idx="2349">
                  <c:v>199.90322580645162</c:v>
                </c:pt>
                <c:pt idx="2350">
                  <c:v>200.25806451612902</c:v>
                </c:pt>
                <c:pt idx="2351">
                  <c:v>200.12903225806451</c:v>
                </c:pt>
                <c:pt idx="2352">
                  <c:v>201.06451612903226</c:v>
                </c:pt>
                <c:pt idx="2353">
                  <c:v>201.19354838709677</c:v>
                </c:pt>
                <c:pt idx="2354">
                  <c:v>200.32258064516128</c:v>
                </c:pt>
                <c:pt idx="2355">
                  <c:v>201.29032258064515</c:v>
                </c:pt>
                <c:pt idx="2356">
                  <c:v>201.09677419354838</c:v>
                </c:pt>
                <c:pt idx="2357">
                  <c:v>201.19354838709677</c:v>
                </c:pt>
                <c:pt idx="2358">
                  <c:v>201.45161290322579</c:v>
                </c:pt>
                <c:pt idx="2359">
                  <c:v>201.45161290322579</c:v>
                </c:pt>
                <c:pt idx="2360">
                  <c:v>200.45161290322579</c:v>
                </c:pt>
                <c:pt idx="2361">
                  <c:v>200.03225806451613</c:v>
                </c:pt>
                <c:pt idx="2362">
                  <c:v>200.45161290322579</c:v>
                </c:pt>
                <c:pt idx="2363">
                  <c:v>201.51612903225808</c:v>
                </c:pt>
                <c:pt idx="2364">
                  <c:v>200.96774193548387</c:v>
                </c:pt>
                <c:pt idx="2365">
                  <c:v>200.93548387096774</c:v>
                </c:pt>
                <c:pt idx="2366">
                  <c:v>200.06451612903226</c:v>
                </c:pt>
                <c:pt idx="2367">
                  <c:v>200.38709677419354</c:v>
                </c:pt>
                <c:pt idx="2368">
                  <c:v>200.32258064516128</c:v>
                </c:pt>
                <c:pt idx="2369">
                  <c:v>199.2258064516129</c:v>
                </c:pt>
                <c:pt idx="2370">
                  <c:v>199.54838709677421</c:v>
                </c:pt>
                <c:pt idx="2371">
                  <c:v>199.2</c:v>
                </c:pt>
                <c:pt idx="2372">
                  <c:v>199.20689655172413</c:v>
                </c:pt>
                <c:pt idx="2373">
                  <c:v>199.46428571428572</c:v>
                </c:pt>
                <c:pt idx="2374">
                  <c:v>198.92592592592592</c:v>
                </c:pt>
                <c:pt idx="2375">
                  <c:v>198.46153846153845</c:v>
                </c:pt>
                <c:pt idx="2376">
                  <c:v>198.16</c:v>
                </c:pt>
                <c:pt idx="2377">
                  <c:v>197.75</c:v>
                </c:pt>
                <c:pt idx="2378">
                  <c:v>197.13043478260869</c:v>
                </c:pt>
                <c:pt idx="2379">
                  <c:v>197.81818181818181</c:v>
                </c:pt>
                <c:pt idx="2380">
                  <c:v>197.9047619047619</c:v>
                </c:pt>
                <c:pt idx="2381">
                  <c:v>197.7</c:v>
                </c:pt>
                <c:pt idx="2382">
                  <c:v>197.21052631578948</c:v>
                </c:pt>
                <c:pt idx="2383">
                  <c:v>196.27777777777777</c:v>
                </c:pt>
                <c:pt idx="2384">
                  <c:v>195.94117647058823</c:v>
                </c:pt>
                <c:pt idx="2385">
                  <c:v>196.875</c:v>
                </c:pt>
                <c:pt idx="2386">
                  <c:v>195.33333333333334</c:v>
                </c:pt>
                <c:pt idx="2387">
                  <c:v>194.5</c:v>
                </c:pt>
                <c:pt idx="2388">
                  <c:v>194.15384615384616</c:v>
                </c:pt>
                <c:pt idx="2389">
                  <c:v>194.33333333333334</c:v>
                </c:pt>
                <c:pt idx="2390">
                  <c:v>194.09090909090909</c:v>
                </c:pt>
                <c:pt idx="2391">
                  <c:v>195.4</c:v>
                </c:pt>
                <c:pt idx="2392">
                  <c:v>196.66666666666666</c:v>
                </c:pt>
                <c:pt idx="2393">
                  <c:v>194.625</c:v>
                </c:pt>
                <c:pt idx="2394">
                  <c:v>191.71428571428572</c:v>
                </c:pt>
                <c:pt idx="2395">
                  <c:v>193</c:v>
                </c:pt>
                <c:pt idx="2396">
                  <c:v>190</c:v>
                </c:pt>
                <c:pt idx="2397">
                  <c:v>191.75</c:v>
                </c:pt>
                <c:pt idx="2398">
                  <c:v>184.66666666666666</c:v>
                </c:pt>
                <c:pt idx="2399">
                  <c:v>186</c:v>
                </c:pt>
              </c:numCache>
            </c:numRef>
          </c:val>
          <c:smooth val="0"/>
          <c:extLst>
            <c:ext xmlns:c16="http://schemas.microsoft.com/office/drawing/2014/chart" uri="{C3380CC4-5D6E-409C-BE32-E72D297353CC}">
              <c16:uniqueId val="{00000003-7066-4E4C-B171-8901FFE3793F}"/>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G$2:$G$2453</c:f>
              <c:numCache>
                <c:formatCode>#,##0.00</c:formatCode>
                <c:ptCount val="2400"/>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23.870967741935484</c:v>
                </c:pt>
                <c:pt idx="2254">
                  <c:v>25.580645161290324</c:v>
                </c:pt>
                <c:pt idx="2255">
                  <c:v>27.35483870967742</c:v>
                </c:pt>
                <c:pt idx="2256">
                  <c:v>29</c:v>
                </c:pt>
                <c:pt idx="2257">
                  <c:v>30.741935483870968</c:v>
                </c:pt>
                <c:pt idx="2258">
                  <c:v>32.225806451612904</c:v>
                </c:pt>
                <c:pt idx="2259">
                  <c:v>33.87096774193548</c:v>
                </c:pt>
                <c:pt idx="2260">
                  <c:v>35.483870967741936</c:v>
                </c:pt>
                <c:pt idx="2261">
                  <c:v>37.064516129032256</c:v>
                </c:pt>
                <c:pt idx="2262">
                  <c:v>38.677419354838712</c:v>
                </c:pt>
                <c:pt idx="2263">
                  <c:v>40.29032258064516</c:v>
                </c:pt>
                <c:pt idx="2264">
                  <c:v>41.935483870967744</c:v>
                </c:pt>
                <c:pt idx="2265">
                  <c:v>43.677419354838712</c:v>
                </c:pt>
                <c:pt idx="2266">
                  <c:v>45.258064516129032</c:v>
                </c:pt>
                <c:pt idx="2267">
                  <c:v>46.903225806451616</c:v>
                </c:pt>
                <c:pt idx="2268">
                  <c:v>48.483870967741936</c:v>
                </c:pt>
                <c:pt idx="2269">
                  <c:v>50.064516129032256</c:v>
                </c:pt>
                <c:pt idx="2270">
                  <c:v>50.12903225806452</c:v>
                </c:pt>
                <c:pt idx="2271">
                  <c:v>50.41935483870968</c:v>
                </c:pt>
                <c:pt idx="2272">
                  <c:v>50.258064516129032</c:v>
                </c:pt>
                <c:pt idx="2273">
                  <c:v>50.548387096774192</c:v>
                </c:pt>
                <c:pt idx="2274">
                  <c:v>50.322580645161288</c:v>
                </c:pt>
                <c:pt idx="2275">
                  <c:v>50.12903225806452</c:v>
                </c:pt>
                <c:pt idx="2276">
                  <c:v>50.322580645161288</c:v>
                </c:pt>
                <c:pt idx="2277">
                  <c:v>50.451612903225808</c:v>
                </c:pt>
                <c:pt idx="2278">
                  <c:v>50.58064516129032</c:v>
                </c:pt>
                <c:pt idx="2279">
                  <c:v>50.516129032258064</c:v>
                </c:pt>
                <c:pt idx="2280">
                  <c:v>50.677419354838712</c:v>
                </c:pt>
                <c:pt idx="2281">
                  <c:v>50.483870967741936</c:v>
                </c:pt>
                <c:pt idx="2282">
                  <c:v>50.354838709677416</c:v>
                </c:pt>
                <c:pt idx="2283">
                  <c:v>50.548387096774192</c:v>
                </c:pt>
                <c:pt idx="2284">
                  <c:v>50.354838709677416</c:v>
                </c:pt>
                <c:pt idx="2285">
                  <c:v>50.096774193548384</c:v>
                </c:pt>
                <c:pt idx="2286">
                  <c:v>50.064516129032256</c:v>
                </c:pt>
                <c:pt idx="2287">
                  <c:v>50.032258064516128</c:v>
                </c:pt>
                <c:pt idx="2288">
                  <c:v>49.774193548387096</c:v>
                </c:pt>
                <c:pt idx="2289">
                  <c:v>50.032258064516128</c:v>
                </c:pt>
                <c:pt idx="2290">
                  <c:v>50.12903225806452</c:v>
                </c:pt>
                <c:pt idx="2291">
                  <c:v>50.258064516129032</c:v>
                </c:pt>
                <c:pt idx="2292">
                  <c:v>50.387096774193552</c:v>
                </c:pt>
                <c:pt idx="2293">
                  <c:v>50.451612903225808</c:v>
                </c:pt>
                <c:pt idx="2294">
                  <c:v>50.451612903225808</c:v>
                </c:pt>
                <c:pt idx="2295">
                  <c:v>50.354838709677416</c:v>
                </c:pt>
                <c:pt idx="2296">
                  <c:v>50.354838709677416</c:v>
                </c:pt>
                <c:pt idx="2297">
                  <c:v>50.41935483870968</c:v>
                </c:pt>
                <c:pt idx="2298">
                  <c:v>50.225806451612904</c:v>
                </c:pt>
                <c:pt idx="2299">
                  <c:v>50.322580645161288</c:v>
                </c:pt>
                <c:pt idx="2300">
                  <c:v>50.258064516129032</c:v>
                </c:pt>
                <c:pt idx="2301">
                  <c:v>50.225806451612904</c:v>
                </c:pt>
                <c:pt idx="2302">
                  <c:v>50.225806451612904</c:v>
                </c:pt>
                <c:pt idx="2303">
                  <c:v>50.354838709677416</c:v>
                </c:pt>
                <c:pt idx="2304">
                  <c:v>50.29032258064516</c:v>
                </c:pt>
                <c:pt idx="2305">
                  <c:v>50.258064516129032</c:v>
                </c:pt>
                <c:pt idx="2306">
                  <c:v>50.451612903225808</c:v>
                </c:pt>
                <c:pt idx="2307">
                  <c:v>50.193548387096776</c:v>
                </c:pt>
                <c:pt idx="2308">
                  <c:v>50.032258064516128</c:v>
                </c:pt>
                <c:pt idx="2309">
                  <c:v>49.903225806451616</c:v>
                </c:pt>
                <c:pt idx="2310">
                  <c:v>49.741935483870968</c:v>
                </c:pt>
                <c:pt idx="2311">
                  <c:v>49.516129032258064</c:v>
                </c:pt>
                <c:pt idx="2312">
                  <c:v>49.516129032258064</c:v>
                </c:pt>
                <c:pt idx="2313">
                  <c:v>49.483870967741936</c:v>
                </c:pt>
                <c:pt idx="2314">
                  <c:v>49.41935483870968</c:v>
                </c:pt>
                <c:pt idx="2315">
                  <c:v>49.58064516129032</c:v>
                </c:pt>
                <c:pt idx="2316">
                  <c:v>49.741935483870968</c:v>
                </c:pt>
                <c:pt idx="2317">
                  <c:v>49.70967741935484</c:v>
                </c:pt>
                <c:pt idx="2318">
                  <c:v>49.741935483870968</c:v>
                </c:pt>
                <c:pt idx="2319">
                  <c:v>49.806451612903224</c:v>
                </c:pt>
                <c:pt idx="2320">
                  <c:v>49.58064516129032</c:v>
                </c:pt>
                <c:pt idx="2321">
                  <c:v>49.322580645161288</c:v>
                </c:pt>
                <c:pt idx="2322">
                  <c:v>49.161290322580648</c:v>
                </c:pt>
                <c:pt idx="2323">
                  <c:v>49.096774193548384</c:v>
                </c:pt>
                <c:pt idx="2324">
                  <c:v>49.064516129032256</c:v>
                </c:pt>
                <c:pt idx="2325">
                  <c:v>49.193548387096776</c:v>
                </c:pt>
                <c:pt idx="2326">
                  <c:v>49.12903225806452</c:v>
                </c:pt>
                <c:pt idx="2327">
                  <c:v>49.032258064516128</c:v>
                </c:pt>
                <c:pt idx="2328">
                  <c:v>48.903225806451616</c:v>
                </c:pt>
                <c:pt idx="2329">
                  <c:v>49.193548387096776</c:v>
                </c:pt>
                <c:pt idx="2330">
                  <c:v>49.258064516129032</c:v>
                </c:pt>
                <c:pt idx="2331">
                  <c:v>49.451612903225808</c:v>
                </c:pt>
                <c:pt idx="2332">
                  <c:v>49.645161290322584</c:v>
                </c:pt>
                <c:pt idx="2333">
                  <c:v>49.58064516129032</c:v>
                </c:pt>
                <c:pt idx="2334">
                  <c:v>49.516129032258064</c:v>
                </c:pt>
                <c:pt idx="2335">
                  <c:v>49.451612903225808</c:v>
                </c:pt>
                <c:pt idx="2336">
                  <c:v>49.41935483870968</c:v>
                </c:pt>
                <c:pt idx="2337">
                  <c:v>49.451612903225808</c:v>
                </c:pt>
                <c:pt idx="2338">
                  <c:v>49.387096774193552</c:v>
                </c:pt>
                <c:pt idx="2339">
                  <c:v>49.516129032258064</c:v>
                </c:pt>
                <c:pt idx="2340">
                  <c:v>49.70967741935484</c:v>
                </c:pt>
                <c:pt idx="2341">
                  <c:v>49.935483870967744</c:v>
                </c:pt>
                <c:pt idx="2342">
                  <c:v>50.064516129032256</c:v>
                </c:pt>
                <c:pt idx="2343">
                  <c:v>50.064516129032256</c:v>
                </c:pt>
                <c:pt idx="2344">
                  <c:v>50.064516129032256</c:v>
                </c:pt>
                <c:pt idx="2345">
                  <c:v>50.064516129032256</c:v>
                </c:pt>
                <c:pt idx="2346">
                  <c:v>50.032258064516128</c:v>
                </c:pt>
                <c:pt idx="2347">
                  <c:v>49.935483870967744</c:v>
                </c:pt>
                <c:pt idx="2348">
                  <c:v>49.935483870967744</c:v>
                </c:pt>
                <c:pt idx="2349">
                  <c:v>50</c:v>
                </c:pt>
                <c:pt idx="2350">
                  <c:v>50.193548387096776</c:v>
                </c:pt>
                <c:pt idx="2351">
                  <c:v>50.451612903225808</c:v>
                </c:pt>
                <c:pt idx="2352">
                  <c:v>50.548387096774192</c:v>
                </c:pt>
                <c:pt idx="2353">
                  <c:v>50.451612903225808</c:v>
                </c:pt>
                <c:pt idx="2354">
                  <c:v>50.29032258064516</c:v>
                </c:pt>
                <c:pt idx="2355">
                  <c:v>50.161290322580648</c:v>
                </c:pt>
                <c:pt idx="2356">
                  <c:v>49.87096774193548</c:v>
                </c:pt>
                <c:pt idx="2357">
                  <c:v>50</c:v>
                </c:pt>
                <c:pt idx="2358">
                  <c:v>49.87096774193548</c:v>
                </c:pt>
                <c:pt idx="2359">
                  <c:v>50</c:v>
                </c:pt>
                <c:pt idx="2360">
                  <c:v>49.70967741935484</c:v>
                </c:pt>
                <c:pt idx="2361">
                  <c:v>49.41935483870968</c:v>
                </c:pt>
                <c:pt idx="2362">
                  <c:v>49.354838709677416</c:v>
                </c:pt>
                <c:pt idx="2363">
                  <c:v>49.12903225806452</c:v>
                </c:pt>
                <c:pt idx="2364">
                  <c:v>49.032258064516128</c:v>
                </c:pt>
                <c:pt idx="2365">
                  <c:v>49</c:v>
                </c:pt>
                <c:pt idx="2366">
                  <c:v>48.903225806451616</c:v>
                </c:pt>
                <c:pt idx="2367">
                  <c:v>48.967741935483872</c:v>
                </c:pt>
                <c:pt idx="2368">
                  <c:v>48.838709677419352</c:v>
                </c:pt>
                <c:pt idx="2369">
                  <c:v>48.967741935483872</c:v>
                </c:pt>
                <c:pt idx="2370">
                  <c:v>49.12903225806452</c:v>
                </c:pt>
                <c:pt idx="2371">
                  <c:v>49.06666666666667</c:v>
                </c:pt>
                <c:pt idx="2372">
                  <c:v>48.931034482758619</c:v>
                </c:pt>
                <c:pt idx="2373">
                  <c:v>48.892857142857146</c:v>
                </c:pt>
                <c:pt idx="2374">
                  <c:v>49.037037037037038</c:v>
                </c:pt>
                <c:pt idx="2375">
                  <c:v>49.153846153846153</c:v>
                </c:pt>
                <c:pt idx="2376">
                  <c:v>49.12</c:v>
                </c:pt>
                <c:pt idx="2377">
                  <c:v>49</c:v>
                </c:pt>
                <c:pt idx="2378">
                  <c:v>49.086956521739133</c:v>
                </c:pt>
                <c:pt idx="2379">
                  <c:v>48.909090909090907</c:v>
                </c:pt>
                <c:pt idx="2380">
                  <c:v>48.714285714285715</c:v>
                </c:pt>
                <c:pt idx="2381">
                  <c:v>48.45</c:v>
                </c:pt>
                <c:pt idx="2382">
                  <c:v>48.10526315789474</c:v>
                </c:pt>
                <c:pt idx="2383">
                  <c:v>48.055555555555557</c:v>
                </c:pt>
                <c:pt idx="2384">
                  <c:v>48.176470588235297</c:v>
                </c:pt>
                <c:pt idx="2385">
                  <c:v>48.3125</c:v>
                </c:pt>
                <c:pt idx="2386">
                  <c:v>48.4</c:v>
                </c:pt>
                <c:pt idx="2387">
                  <c:v>48.642857142857146</c:v>
                </c:pt>
                <c:pt idx="2388">
                  <c:v>48.53846153846154</c:v>
                </c:pt>
                <c:pt idx="2389">
                  <c:v>48.666666666666664</c:v>
                </c:pt>
                <c:pt idx="2390">
                  <c:v>48.454545454545453</c:v>
                </c:pt>
                <c:pt idx="2391">
                  <c:v>48.8</c:v>
                </c:pt>
                <c:pt idx="2392">
                  <c:v>49.222222222222221</c:v>
                </c:pt>
                <c:pt idx="2393">
                  <c:v>49</c:v>
                </c:pt>
                <c:pt idx="2394">
                  <c:v>49.285714285714285</c:v>
                </c:pt>
                <c:pt idx="2395">
                  <c:v>49.333333333333336</c:v>
                </c:pt>
                <c:pt idx="2396">
                  <c:v>50</c:v>
                </c:pt>
                <c:pt idx="2397">
                  <c:v>50.5</c:v>
                </c:pt>
                <c:pt idx="2398">
                  <c:v>51.333333333333336</c:v>
                </c:pt>
                <c:pt idx="2399">
                  <c:v>51.5</c:v>
                </c:pt>
              </c:numCache>
            </c:numRef>
          </c:val>
          <c:smooth val="0"/>
          <c:extLst>
            <c:ext xmlns:c16="http://schemas.microsoft.com/office/drawing/2014/chart" uri="{C3380CC4-5D6E-409C-BE32-E72D297353CC}">
              <c16:uniqueId val="{00000004-7066-4E4C-B171-8901FFE3793F}"/>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Mean'!$I$2:$I$2453</c:f>
              <c:numCache>
                <c:formatCode>#,##0.00</c:formatCode>
                <c:ptCount val="2400"/>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37.215835777126102</c:v>
                </c:pt>
                <c:pt idx="2254">
                  <c:v>39.626392961876839</c:v>
                </c:pt>
                <c:pt idx="2255">
                  <c:v>42.114369501466278</c:v>
                </c:pt>
                <c:pt idx="2256">
                  <c:v>44.536656891495603</c:v>
                </c:pt>
                <c:pt idx="2257">
                  <c:v>46.955425219941354</c:v>
                </c:pt>
                <c:pt idx="2258">
                  <c:v>49.424633431085049</c:v>
                </c:pt>
                <c:pt idx="2259">
                  <c:v>51.81348973607038</c:v>
                </c:pt>
                <c:pt idx="2260">
                  <c:v>54.250439882697947</c:v>
                </c:pt>
                <c:pt idx="2261">
                  <c:v>56.733137829912025</c:v>
                </c:pt>
                <c:pt idx="2262">
                  <c:v>59.251612903225805</c:v>
                </c:pt>
                <c:pt idx="2263">
                  <c:v>61.616422287390023</c:v>
                </c:pt>
                <c:pt idx="2264">
                  <c:v>63.994134897360702</c:v>
                </c:pt>
                <c:pt idx="2265">
                  <c:v>66.345454545454544</c:v>
                </c:pt>
                <c:pt idx="2266">
                  <c:v>68.769501466275656</c:v>
                </c:pt>
                <c:pt idx="2267">
                  <c:v>71.2791788856305</c:v>
                </c:pt>
                <c:pt idx="2268">
                  <c:v>73.785337243401756</c:v>
                </c:pt>
                <c:pt idx="2269">
                  <c:v>76.276246334310841</c:v>
                </c:pt>
                <c:pt idx="2270">
                  <c:v>76.275659824046926</c:v>
                </c:pt>
                <c:pt idx="2271">
                  <c:v>76.168914956011704</c:v>
                </c:pt>
                <c:pt idx="2272">
                  <c:v>76.138416422287378</c:v>
                </c:pt>
                <c:pt idx="2273">
                  <c:v>76.171847507331364</c:v>
                </c:pt>
                <c:pt idx="2274">
                  <c:v>76.197653958944258</c:v>
                </c:pt>
                <c:pt idx="2275">
                  <c:v>76.370674486803523</c:v>
                </c:pt>
                <c:pt idx="2276">
                  <c:v>76.30439882697948</c:v>
                </c:pt>
                <c:pt idx="2277">
                  <c:v>76.4592375366569</c:v>
                </c:pt>
                <c:pt idx="2278">
                  <c:v>76.59882697947215</c:v>
                </c:pt>
                <c:pt idx="2279">
                  <c:v>76.646334310850449</c:v>
                </c:pt>
                <c:pt idx="2280">
                  <c:v>76.70791788856306</c:v>
                </c:pt>
                <c:pt idx="2281">
                  <c:v>76.672727272727286</c:v>
                </c:pt>
                <c:pt idx="2282">
                  <c:v>76.546627565982419</c:v>
                </c:pt>
                <c:pt idx="2283">
                  <c:v>76.388856304985353</c:v>
                </c:pt>
                <c:pt idx="2284">
                  <c:v>76.338416422287409</c:v>
                </c:pt>
                <c:pt idx="2285">
                  <c:v>76.329618768328473</c:v>
                </c:pt>
                <c:pt idx="2286">
                  <c:v>76.411143695014673</c:v>
                </c:pt>
                <c:pt idx="2287">
                  <c:v>76.344281524926714</c:v>
                </c:pt>
                <c:pt idx="2288">
                  <c:v>76.283870967741933</c:v>
                </c:pt>
                <c:pt idx="2289">
                  <c:v>76.278005865102642</c:v>
                </c:pt>
                <c:pt idx="2290">
                  <c:v>76.250439882697933</c:v>
                </c:pt>
                <c:pt idx="2291">
                  <c:v>76.330205278592388</c:v>
                </c:pt>
                <c:pt idx="2292">
                  <c:v>76.214076246334315</c:v>
                </c:pt>
                <c:pt idx="2293">
                  <c:v>76.113782991202342</c:v>
                </c:pt>
                <c:pt idx="2294">
                  <c:v>76.28856304985338</c:v>
                </c:pt>
                <c:pt idx="2295">
                  <c:v>76.353665689149551</c:v>
                </c:pt>
                <c:pt idx="2296">
                  <c:v>76.358944281524913</c:v>
                </c:pt>
                <c:pt idx="2297">
                  <c:v>76.374780058651012</c:v>
                </c:pt>
                <c:pt idx="2298">
                  <c:v>76.3607038123167</c:v>
                </c:pt>
                <c:pt idx="2299">
                  <c:v>76.374780058651027</c:v>
                </c:pt>
                <c:pt idx="2300">
                  <c:v>76.405278592375353</c:v>
                </c:pt>
                <c:pt idx="2301">
                  <c:v>76.418768328445736</c:v>
                </c:pt>
                <c:pt idx="2302">
                  <c:v>76.538416422287384</c:v>
                </c:pt>
                <c:pt idx="2303">
                  <c:v>76.636363636363626</c:v>
                </c:pt>
                <c:pt idx="2304">
                  <c:v>76.632844574780052</c:v>
                </c:pt>
                <c:pt idx="2305">
                  <c:v>76.50674486803517</c:v>
                </c:pt>
                <c:pt idx="2306">
                  <c:v>76.536070381231667</c:v>
                </c:pt>
                <c:pt idx="2307">
                  <c:v>76.476832844574773</c:v>
                </c:pt>
                <c:pt idx="2308">
                  <c:v>76.402932551319651</c:v>
                </c:pt>
                <c:pt idx="2309">
                  <c:v>76.2</c:v>
                </c:pt>
                <c:pt idx="2310">
                  <c:v>76.014662756598241</c:v>
                </c:pt>
                <c:pt idx="2311">
                  <c:v>75.972434017595319</c:v>
                </c:pt>
                <c:pt idx="2312">
                  <c:v>75.947800586510269</c:v>
                </c:pt>
                <c:pt idx="2313">
                  <c:v>75.871554252199431</c:v>
                </c:pt>
                <c:pt idx="2314">
                  <c:v>75.890909090909091</c:v>
                </c:pt>
                <c:pt idx="2315">
                  <c:v>75.931378299120226</c:v>
                </c:pt>
                <c:pt idx="2316">
                  <c:v>75.92492668621702</c:v>
                </c:pt>
                <c:pt idx="2317">
                  <c:v>75.920821114369502</c:v>
                </c:pt>
                <c:pt idx="2318">
                  <c:v>75.919648093841644</c:v>
                </c:pt>
                <c:pt idx="2319">
                  <c:v>76.087976539589462</c:v>
                </c:pt>
                <c:pt idx="2320">
                  <c:v>76.002932551319645</c:v>
                </c:pt>
                <c:pt idx="2321">
                  <c:v>76.025806451612908</c:v>
                </c:pt>
                <c:pt idx="2322">
                  <c:v>75.916715542521985</c:v>
                </c:pt>
                <c:pt idx="2323">
                  <c:v>76.08387096774193</c:v>
                </c:pt>
                <c:pt idx="2324">
                  <c:v>76.231085043988244</c:v>
                </c:pt>
                <c:pt idx="2325">
                  <c:v>76.185923753665676</c:v>
                </c:pt>
                <c:pt idx="2326">
                  <c:v>76.10615835777125</c:v>
                </c:pt>
                <c:pt idx="2327">
                  <c:v>76.10498533724342</c:v>
                </c:pt>
                <c:pt idx="2328">
                  <c:v>76.041642228739008</c:v>
                </c:pt>
                <c:pt idx="2329">
                  <c:v>75.980645161290312</c:v>
                </c:pt>
                <c:pt idx="2330">
                  <c:v>75.970674486803517</c:v>
                </c:pt>
                <c:pt idx="2331">
                  <c:v>75.818181818181827</c:v>
                </c:pt>
                <c:pt idx="2332">
                  <c:v>75.766568914956025</c:v>
                </c:pt>
                <c:pt idx="2333">
                  <c:v>75.715542521994138</c:v>
                </c:pt>
                <c:pt idx="2334">
                  <c:v>75.764222873900295</c:v>
                </c:pt>
                <c:pt idx="2335">
                  <c:v>75.679765395894421</c:v>
                </c:pt>
                <c:pt idx="2336">
                  <c:v>75.643988269794718</c:v>
                </c:pt>
                <c:pt idx="2337">
                  <c:v>75.572434017595299</c:v>
                </c:pt>
                <c:pt idx="2338">
                  <c:v>75.522580645161284</c:v>
                </c:pt>
                <c:pt idx="2339">
                  <c:v>75.558357771261001</c:v>
                </c:pt>
                <c:pt idx="2340">
                  <c:v>75.633431085043981</c:v>
                </c:pt>
                <c:pt idx="2341">
                  <c:v>75.68973607038123</c:v>
                </c:pt>
                <c:pt idx="2342">
                  <c:v>75.690909090909074</c:v>
                </c:pt>
                <c:pt idx="2343">
                  <c:v>75.675073313782974</c:v>
                </c:pt>
                <c:pt idx="2344">
                  <c:v>75.872727272727289</c:v>
                </c:pt>
                <c:pt idx="2345">
                  <c:v>75.879178885630509</c:v>
                </c:pt>
                <c:pt idx="2346">
                  <c:v>75.967155425219943</c:v>
                </c:pt>
                <c:pt idx="2347">
                  <c:v>76.094428152492668</c:v>
                </c:pt>
                <c:pt idx="2348">
                  <c:v>76.095014662756611</c:v>
                </c:pt>
                <c:pt idx="2349">
                  <c:v>76.194134897360712</c:v>
                </c:pt>
                <c:pt idx="2350">
                  <c:v>76.219941348973592</c:v>
                </c:pt>
                <c:pt idx="2351">
                  <c:v>76.304985337243423</c:v>
                </c:pt>
                <c:pt idx="2352">
                  <c:v>76.364222873900303</c:v>
                </c:pt>
                <c:pt idx="2353">
                  <c:v>76.415249266862162</c:v>
                </c:pt>
                <c:pt idx="2354">
                  <c:v>76.288563049853366</c:v>
                </c:pt>
                <c:pt idx="2355">
                  <c:v>76.114369501466257</c:v>
                </c:pt>
                <c:pt idx="2356">
                  <c:v>76.059824046920795</c:v>
                </c:pt>
                <c:pt idx="2357">
                  <c:v>76.101466275659803</c:v>
                </c:pt>
                <c:pt idx="2358">
                  <c:v>76.214662756598216</c:v>
                </c:pt>
                <c:pt idx="2359">
                  <c:v>76.372434017595296</c:v>
                </c:pt>
                <c:pt idx="2360">
                  <c:v>76.334310850439877</c:v>
                </c:pt>
                <c:pt idx="2361">
                  <c:v>76.301466275659848</c:v>
                </c:pt>
                <c:pt idx="2362">
                  <c:v>76.424046920821127</c:v>
                </c:pt>
                <c:pt idx="2363">
                  <c:v>76.42815249266863</c:v>
                </c:pt>
                <c:pt idx="2364">
                  <c:v>76.447507331378304</c:v>
                </c:pt>
                <c:pt idx="2365">
                  <c:v>76.428739002932545</c:v>
                </c:pt>
                <c:pt idx="2366">
                  <c:v>76.451612903225808</c:v>
                </c:pt>
                <c:pt idx="2367">
                  <c:v>76.560117302052774</c:v>
                </c:pt>
                <c:pt idx="2368">
                  <c:v>76.440469208211127</c:v>
                </c:pt>
                <c:pt idx="2369">
                  <c:v>76.554838709677398</c:v>
                </c:pt>
                <c:pt idx="2370">
                  <c:v>76.487390029325525</c:v>
                </c:pt>
                <c:pt idx="2371">
                  <c:v>76.52242424242425</c:v>
                </c:pt>
                <c:pt idx="2372">
                  <c:v>76.55360501567398</c:v>
                </c:pt>
                <c:pt idx="2373">
                  <c:v>76.605194805194813</c:v>
                </c:pt>
                <c:pt idx="2374">
                  <c:v>76.622222222222234</c:v>
                </c:pt>
                <c:pt idx="2375">
                  <c:v>76.511188811188816</c:v>
                </c:pt>
                <c:pt idx="2376">
                  <c:v>76.538181818181826</c:v>
                </c:pt>
                <c:pt idx="2377">
                  <c:v>76.528787878787881</c:v>
                </c:pt>
                <c:pt idx="2378">
                  <c:v>76.456126482213435</c:v>
                </c:pt>
                <c:pt idx="2379">
                  <c:v>76.315702479338839</c:v>
                </c:pt>
                <c:pt idx="2380">
                  <c:v>76.328138528138538</c:v>
                </c:pt>
                <c:pt idx="2381">
                  <c:v>76.188181818181818</c:v>
                </c:pt>
                <c:pt idx="2382">
                  <c:v>76.178947368421063</c:v>
                </c:pt>
                <c:pt idx="2383">
                  <c:v>76.203030303030303</c:v>
                </c:pt>
                <c:pt idx="2384">
                  <c:v>76.202139037433156</c:v>
                </c:pt>
                <c:pt idx="2385">
                  <c:v>76.301136363636374</c:v>
                </c:pt>
                <c:pt idx="2386">
                  <c:v>76.446060606060612</c:v>
                </c:pt>
                <c:pt idx="2387">
                  <c:v>76.503896103896096</c:v>
                </c:pt>
                <c:pt idx="2388">
                  <c:v>76.654545454545456</c:v>
                </c:pt>
                <c:pt idx="2389">
                  <c:v>76.665151515151521</c:v>
                </c:pt>
                <c:pt idx="2390">
                  <c:v>76.492561983471063</c:v>
                </c:pt>
                <c:pt idx="2391">
                  <c:v>76.712727272727264</c:v>
                </c:pt>
                <c:pt idx="2392">
                  <c:v>76.703030303030289</c:v>
                </c:pt>
                <c:pt idx="2393">
                  <c:v>76.636363636363626</c:v>
                </c:pt>
                <c:pt idx="2394">
                  <c:v>76.605194805194813</c:v>
                </c:pt>
                <c:pt idx="2395">
                  <c:v>76.548484848484861</c:v>
                </c:pt>
                <c:pt idx="2396">
                  <c:v>76.167272727272717</c:v>
                </c:pt>
                <c:pt idx="2397">
                  <c:v>76.295454545454533</c:v>
                </c:pt>
                <c:pt idx="2398">
                  <c:v>76.066666666666663</c:v>
                </c:pt>
                <c:pt idx="2399">
                  <c:v>77.11818181818181</c:v>
                </c:pt>
              </c:numCache>
            </c:numRef>
          </c:val>
          <c:smooth val="0"/>
          <c:extLst>
            <c:ext xmlns:c16="http://schemas.microsoft.com/office/drawing/2014/chart" uri="{C3380CC4-5D6E-409C-BE32-E72D297353CC}">
              <c16:uniqueId val="{00000005-7066-4E4C-B171-8901FFE3793F}"/>
            </c:ext>
          </c:extLst>
        </c:ser>
        <c:dLbls>
          <c:showLegendKey val="0"/>
          <c:showVal val="0"/>
          <c:showCatName val="0"/>
          <c:showSerName val="0"/>
          <c:showPercent val="0"/>
          <c:showBubbleSize val="0"/>
        </c:dLbls>
        <c:marker val="1"/>
        <c:smooth val="0"/>
        <c:axId val="1524726928"/>
        <c:axId val="1524737488"/>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00"/>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1.656769771269931</c:v>
                </c:pt>
                <c:pt idx="2254">
                  <c:v>1.7900523302950642</c:v>
                </c:pt>
                <c:pt idx="2255">
                  <c:v>1.8991536250399232</c:v>
                </c:pt>
                <c:pt idx="2256">
                  <c:v>2.0166818170650811</c:v>
                </c:pt>
                <c:pt idx="2257">
                  <c:v>2.1331167235830284</c:v>
                </c:pt>
                <c:pt idx="2258">
                  <c:v>2.2473589170331425</c:v>
                </c:pt>
                <c:pt idx="2259">
                  <c:v>2.3635174311475815</c:v>
                </c:pt>
                <c:pt idx="2260">
                  <c:v>2.4740743925509179</c:v>
                </c:pt>
                <c:pt idx="2261">
                  <c:v>2.5723963835589516</c:v>
                </c:pt>
                <c:pt idx="2262">
                  <c:v>2.6831498906714493</c:v>
                </c:pt>
                <c:pt idx="2263">
                  <c:v>2.7987310517652264</c:v>
                </c:pt>
                <c:pt idx="2264">
                  <c:v>2.9136980075178736</c:v>
                </c:pt>
                <c:pt idx="2265">
                  <c:v>3.0488231825663954</c:v>
                </c:pt>
                <c:pt idx="2266">
                  <c:v>3.1530783971697414</c:v>
                </c:pt>
                <c:pt idx="2267">
                  <c:v>3.2792607424514162</c:v>
                </c:pt>
                <c:pt idx="2268">
                  <c:v>3.3832395646512539</c:v>
                </c:pt>
                <c:pt idx="2269">
                  <c:v>3.4946809817458169</c:v>
                </c:pt>
                <c:pt idx="2270">
                  <c:v>3.4998648748249512</c:v>
                </c:pt>
                <c:pt idx="2271">
                  <c:v>3.5131501363535858</c:v>
                </c:pt>
                <c:pt idx="2272">
                  <c:v>3.4895646512542076</c:v>
                </c:pt>
                <c:pt idx="2273">
                  <c:v>3.4810026287988598</c:v>
                </c:pt>
                <c:pt idx="2274">
                  <c:v>3.4669741788074586</c:v>
                </c:pt>
                <c:pt idx="2275">
                  <c:v>3.473730437559885</c:v>
                </c:pt>
                <c:pt idx="2276">
                  <c:v>3.4682824361840652</c:v>
                </c:pt>
                <c:pt idx="2277">
                  <c:v>3.4892268383165868</c:v>
                </c:pt>
                <c:pt idx="2278">
                  <c:v>3.4967999901727151</c:v>
                </c:pt>
                <c:pt idx="2279">
                  <c:v>3.4879370071002143</c:v>
                </c:pt>
                <c:pt idx="2280">
                  <c:v>3.4754747807286934</c:v>
                </c:pt>
                <c:pt idx="2281">
                  <c:v>3.4650455740363126</c:v>
                </c:pt>
                <c:pt idx="2282">
                  <c:v>3.4622693658944059</c:v>
                </c:pt>
                <c:pt idx="2283">
                  <c:v>3.457005626120925</c:v>
                </c:pt>
                <c:pt idx="2284">
                  <c:v>3.4354347345404519</c:v>
                </c:pt>
                <c:pt idx="2285">
                  <c:v>3.3941908458835957</c:v>
                </c:pt>
                <c:pt idx="2286">
                  <c:v>3.394184703830184</c:v>
                </c:pt>
                <c:pt idx="2287">
                  <c:v>3.39605803012063</c:v>
                </c:pt>
                <c:pt idx="2288">
                  <c:v>3.3745547011276806</c:v>
                </c:pt>
                <c:pt idx="2289">
                  <c:v>3.3498636464142693</c:v>
                </c:pt>
                <c:pt idx="2290">
                  <c:v>3.3429968307004398</c:v>
                </c:pt>
                <c:pt idx="2291">
                  <c:v>3.3356755030341736</c:v>
                </c:pt>
                <c:pt idx="2292">
                  <c:v>3.3393423089207181</c:v>
                </c:pt>
                <c:pt idx="2293">
                  <c:v>3.3455703510797727</c:v>
                </c:pt>
                <c:pt idx="2294">
                  <c:v>3.3411235044099952</c:v>
                </c:pt>
                <c:pt idx="2295">
                  <c:v>3.3289745227624503</c:v>
                </c:pt>
                <c:pt idx="2296">
                  <c:v>3.3194420558681186</c:v>
                </c:pt>
                <c:pt idx="2297">
                  <c:v>3.319595607203401</c:v>
                </c:pt>
                <c:pt idx="2298">
                  <c:v>3.3197184482716264</c:v>
                </c:pt>
                <c:pt idx="2299">
                  <c:v>3.3323649362454857</c:v>
                </c:pt>
                <c:pt idx="2300">
                  <c:v>3.3407181288848489</c:v>
                </c:pt>
                <c:pt idx="2301">
                  <c:v>3.3191595214111986</c:v>
                </c:pt>
                <c:pt idx="2302">
                  <c:v>3.3244601135051477</c:v>
                </c:pt>
                <c:pt idx="2303">
                  <c:v>3.3330098518536726</c:v>
                </c:pt>
                <c:pt idx="2304">
                  <c:v>3.3440901162076511</c:v>
                </c:pt>
                <c:pt idx="2305">
                  <c:v>3.361410706827507</c:v>
                </c:pt>
                <c:pt idx="2306">
                  <c:v>3.3523204677787874</c:v>
                </c:pt>
                <c:pt idx="2307">
                  <c:v>3.3665086111588822</c:v>
                </c:pt>
                <c:pt idx="2308">
                  <c:v>3.3369039137164331</c:v>
                </c:pt>
                <c:pt idx="2309">
                  <c:v>3.3511043412033508</c:v>
                </c:pt>
                <c:pt idx="2310">
                  <c:v>3.3397538264992748</c:v>
                </c:pt>
                <c:pt idx="2311">
                  <c:v>3.3353622583101981</c:v>
                </c:pt>
                <c:pt idx="2312">
                  <c:v>3.327752254133602</c:v>
                </c:pt>
                <c:pt idx="2313">
                  <c:v>3.3458958799105716</c:v>
                </c:pt>
                <c:pt idx="2314">
                  <c:v>3.3665331793725275</c:v>
                </c:pt>
                <c:pt idx="2315">
                  <c:v>3.3712748446060492</c:v>
                </c:pt>
                <c:pt idx="2316">
                  <c:v>3.4073286981303594</c:v>
                </c:pt>
                <c:pt idx="2317">
                  <c:v>3.4047367515907925</c:v>
                </c:pt>
                <c:pt idx="2318">
                  <c:v>3.4063951060118427</c:v>
                </c:pt>
                <c:pt idx="2319">
                  <c:v>3.4217379554332616</c:v>
                </c:pt>
                <c:pt idx="2320">
                  <c:v>3.4384566248188113</c:v>
                </c:pt>
                <c:pt idx="2321">
                  <c:v>3.4416566346460966</c:v>
                </c:pt>
                <c:pt idx="2322">
                  <c:v>3.4515207724246388</c:v>
                </c:pt>
                <c:pt idx="2323">
                  <c:v>3.4760091393754773</c:v>
                </c:pt>
                <c:pt idx="2324">
                  <c:v>3.4523868019556314</c:v>
                </c:pt>
                <c:pt idx="2325">
                  <c:v>3.4472213350367307</c:v>
                </c:pt>
                <c:pt idx="2326">
                  <c:v>3.4419146008893704</c:v>
                </c:pt>
                <c:pt idx="2327">
                  <c:v>3.4123836080878571</c:v>
                </c:pt>
                <c:pt idx="2328">
                  <c:v>3.4096135419993625</c:v>
                </c:pt>
                <c:pt idx="2329">
                  <c:v>3.4044050807065833</c:v>
                </c:pt>
                <c:pt idx="2330">
                  <c:v>3.3978883620371967</c:v>
                </c:pt>
                <c:pt idx="2331">
                  <c:v>3.3800518389307923</c:v>
                </c:pt>
                <c:pt idx="2332">
                  <c:v>3.3855919711077811</c:v>
                </c:pt>
                <c:pt idx="2333">
                  <c:v>3.3883620371962762</c:v>
                </c:pt>
                <c:pt idx="2334">
                  <c:v>3.4026177431638955</c:v>
                </c:pt>
                <c:pt idx="2335">
                  <c:v>3.4056027811217855</c:v>
                </c:pt>
                <c:pt idx="2336">
                  <c:v>3.4029924084219845</c:v>
                </c:pt>
                <c:pt idx="2337">
                  <c:v>3.3956833648625415</c:v>
                </c:pt>
                <c:pt idx="2338">
                  <c:v>3.3906775913323353</c:v>
                </c:pt>
                <c:pt idx="2339">
                  <c:v>3.3978453676633178</c:v>
                </c:pt>
                <c:pt idx="2340">
                  <c:v>3.3851681694224021</c:v>
                </c:pt>
                <c:pt idx="2341">
                  <c:v>3.3871152003537834</c:v>
                </c:pt>
                <c:pt idx="2342">
                  <c:v>3.4104058668894197</c:v>
                </c:pt>
                <c:pt idx="2343">
                  <c:v>3.4144043436601739</c:v>
                </c:pt>
                <c:pt idx="2344">
                  <c:v>3.4203068569884296</c:v>
                </c:pt>
                <c:pt idx="2345">
                  <c:v>3.4299867331646321</c:v>
                </c:pt>
                <c:pt idx="2346">
                  <c:v>3.4377257204628662</c:v>
                </c:pt>
                <c:pt idx="2347">
                  <c:v>3.4294278063042043</c:v>
                </c:pt>
                <c:pt idx="2348">
                  <c:v>3.4123528978208002</c:v>
                </c:pt>
                <c:pt idx="2349">
                  <c:v>3.4116772719455573</c:v>
                </c:pt>
                <c:pt idx="2350">
                  <c:v>3.4180281551728373</c:v>
                </c:pt>
                <c:pt idx="2351">
                  <c:v>3.4261848021030392</c:v>
                </c:pt>
                <c:pt idx="2352">
                  <c:v>3.434617841436749</c:v>
                </c:pt>
                <c:pt idx="2353">
                  <c:v>3.4220143478367686</c:v>
                </c:pt>
                <c:pt idx="2354">
                  <c:v>3.3967029457288156</c:v>
                </c:pt>
                <c:pt idx="2355">
                  <c:v>3.4317126501732051</c:v>
                </c:pt>
                <c:pt idx="2356">
                  <c:v>3.4528843082819436</c:v>
                </c:pt>
                <c:pt idx="2357">
                  <c:v>3.4702663194359129</c:v>
                </c:pt>
                <c:pt idx="2358">
                  <c:v>3.4862356583052843</c:v>
                </c:pt>
                <c:pt idx="2359">
                  <c:v>3.4838156892612333</c:v>
                </c:pt>
                <c:pt idx="2360">
                  <c:v>3.4605495909392423</c:v>
                </c:pt>
                <c:pt idx="2361">
                  <c:v>3.4465027147876079</c:v>
                </c:pt>
                <c:pt idx="2362">
                  <c:v>3.4570547625482146</c:v>
                </c:pt>
                <c:pt idx="2363">
                  <c:v>3.4860636808097683</c:v>
                </c:pt>
                <c:pt idx="2364">
                  <c:v>3.4725450212515052</c:v>
                </c:pt>
                <c:pt idx="2365">
                  <c:v>3.4668390536324107</c:v>
                </c:pt>
                <c:pt idx="2366">
                  <c:v>3.4369333955728076</c:v>
                </c:pt>
                <c:pt idx="2367">
                  <c:v>3.4468159595115835</c:v>
                </c:pt>
                <c:pt idx="2368">
                  <c:v>3.4558939144534802</c:v>
                </c:pt>
                <c:pt idx="2369">
                  <c:v>3.437308060830897</c:v>
                </c:pt>
                <c:pt idx="2370">
                  <c:v>3.4461710439033975</c:v>
                </c:pt>
                <c:pt idx="2371">
                  <c:v>3.4437547600913936</c:v>
                </c:pt>
                <c:pt idx="2372">
                  <c:v>3.4540601938177899</c:v>
                </c:pt>
                <c:pt idx="2373">
                  <c:v>3.4520794799260139</c:v>
                </c:pt>
                <c:pt idx="2374">
                  <c:v>3.4576951284872073</c:v>
                </c:pt>
                <c:pt idx="2375">
                  <c:v>3.4469799050911005</c:v>
                </c:pt>
                <c:pt idx="2376">
                  <c:v>3.43110434120335</c:v>
                </c:pt>
                <c:pt idx="2377">
                  <c:v>3.4354531607006855</c:v>
                </c:pt>
                <c:pt idx="2378">
                  <c:v>3.423358389350641</c:v>
                </c:pt>
                <c:pt idx="2379">
                  <c:v>3.4529529876064529</c:v>
                </c:pt>
                <c:pt idx="2380">
                  <c:v>3.4396692416494394</c:v>
                </c:pt>
                <c:pt idx="2381">
                  <c:v>3.4308834729626803</c:v>
                </c:pt>
                <c:pt idx="2382">
                  <c:v>3.4247604922435566</c:v>
                </c:pt>
                <c:pt idx="2383">
                  <c:v>3.4067656765676566</c:v>
                </c:pt>
                <c:pt idx="2384">
                  <c:v>3.4239057389901895</c:v>
                </c:pt>
                <c:pt idx="2385">
                  <c:v>3.4418911843107391</c:v>
                </c:pt>
                <c:pt idx="2386">
                  <c:v>3.406054836252856</c:v>
                </c:pt>
                <c:pt idx="2387">
                  <c:v>3.3678190621259927</c:v>
                </c:pt>
                <c:pt idx="2388">
                  <c:v>3.3529058527154496</c:v>
                </c:pt>
                <c:pt idx="2389">
                  <c:v>3.34290111703478</c:v>
                </c:pt>
                <c:pt idx="2390">
                  <c:v>3.3671847954026166</c:v>
                </c:pt>
                <c:pt idx="2391">
                  <c:v>3.4006283320639752</c:v>
                </c:pt>
                <c:pt idx="2392">
                  <c:v>3.447596682745198</c:v>
                </c:pt>
                <c:pt idx="2393">
                  <c:v>3.442569497334349</c:v>
                </c:pt>
                <c:pt idx="2394">
                  <c:v>3.355402023718856</c:v>
                </c:pt>
                <c:pt idx="2395">
                  <c:v>3.3657654226961156</c:v>
                </c:pt>
                <c:pt idx="2396">
                  <c:v>3.302284843869002</c:v>
                </c:pt>
                <c:pt idx="2397">
                  <c:v>3.3700019040365579</c:v>
                </c:pt>
                <c:pt idx="2398">
                  <c:v>3.1414699162223916</c:v>
                </c:pt>
                <c:pt idx="2399">
                  <c:v>3.1701256664127953</c:v>
                </c:pt>
              </c:numCache>
            </c:numRef>
          </c:val>
          <c:smooth val="0"/>
          <c:extLst>
            <c:ext xmlns:c16="http://schemas.microsoft.com/office/drawing/2014/chart" uri="{C3380CC4-5D6E-409C-BE32-E72D297353CC}">
              <c16:uniqueId val="{00000006-7066-4E4C-B171-8901FFE3793F}"/>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numCache>
            </c:numRef>
          </c:val>
          <c:smooth val="0"/>
          <c:extLst>
            <c:ext xmlns:c16="http://schemas.microsoft.com/office/drawing/2014/chart" uri="{C3380CC4-5D6E-409C-BE32-E72D297353CC}">
              <c16:uniqueId val="{00000007-7066-4E4C-B171-8901FFE3793F}"/>
            </c:ext>
          </c:extLst>
        </c:ser>
        <c:dLbls>
          <c:showLegendKey val="0"/>
          <c:showVal val="0"/>
          <c:showCatName val="0"/>
          <c:showSerName val="0"/>
          <c:showPercent val="0"/>
          <c:showBubbleSize val="0"/>
        </c:dLbls>
        <c:marker val="1"/>
        <c:smooth val="0"/>
        <c:axId val="1524744688"/>
        <c:axId val="1524736048"/>
      </c:lineChart>
      <c:catAx>
        <c:axId val="15247269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 Fram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737488"/>
        <c:crosses val="autoZero"/>
        <c:auto val="0"/>
        <c:lblAlgn val="ctr"/>
        <c:lblOffset val="100"/>
        <c:noMultiLvlLbl val="0"/>
      </c:catAx>
      <c:valAx>
        <c:axId val="152473748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726928"/>
        <c:crosses val="autoZero"/>
        <c:crossBetween val="between"/>
      </c:valAx>
      <c:valAx>
        <c:axId val="1524736048"/>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744688"/>
        <c:crosses val="max"/>
        <c:crossBetween val="between"/>
      </c:valAx>
      <c:catAx>
        <c:axId val="1524744688"/>
        <c:scaling>
          <c:orientation val="minMax"/>
        </c:scaling>
        <c:delete val="1"/>
        <c:axPos val="b"/>
        <c:majorTickMark val="out"/>
        <c:minorTickMark val="none"/>
        <c:tickLblPos val="nextTo"/>
        <c:crossAx val="15247360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ime Series Performance</a:t>
            </a:r>
            <a:r>
              <a:rPr lang="en-US"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C$2:$C$2454</c:f>
              <c:numCache>
                <c:formatCode>#,##0.00</c:formatCode>
                <c:ptCount val="2401"/>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21.319161056686053</c:v>
                </c:pt>
                <c:pt idx="2254">
                  <c:v>21.394007636686972</c:v>
                </c:pt>
                <c:pt idx="2255">
                  <c:v>21.376028425887899</c:v>
                </c:pt>
                <c:pt idx="2256">
                  <c:v>21.23551201583593</c:v>
                </c:pt>
                <c:pt idx="2257">
                  <c:v>20.940242193046572</c:v>
                </c:pt>
                <c:pt idx="2258">
                  <c:v>20.593466514976246</c:v>
                </c:pt>
                <c:pt idx="2259">
                  <c:v>20.113883022178602</c:v>
                </c:pt>
                <c:pt idx="2260">
                  <c:v>19.554898272217663</c:v>
                </c:pt>
                <c:pt idx="2261">
                  <c:v>18.853029342848288</c:v>
                </c:pt>
                <c:pt idx="2262">
                  <c:v>18.038093025594463</c:v>
                </c:pt>
                <c:pt idx="2263">
                  <c:v>17.041628746831311</c:v>
                </c:pt>
                <c:pt idx="2264">
                  <c:v>15.8658892727068</c:v>
                </c:pt>
                <c:pt idx="2265">
                  <c:v>14.486596107492231</c:v>
                </c:pt>
                <c:pt idx="2266">
                  <c:v>12.804143909858549</c:v>
                </c:pt>
                <c:pt idx="2267">
                  <c:v>10.65550775501762</c:v>
                </c:pt>
                <c:pt idx="2268">
                  <c:v>7.7073688355894703</c:v>
                </c:pt>
                <c:pt idx="2269">
                  <c:v>1.1718565680542794</c:v>
                </c:pt>
                <c:pt idx="2270">
                  <c:v>1.15533987635027</c:v>
                </c:pt>
                <c:pt idx="2271">
                  <c:v>1.1613535503736654</c:v>
                </c:pt>
                <c:pt idx="2272">
                  <c:v>1.1622382785349801</c:v>
                </c:pt>
                <c:pt idx="2273">
                  <c:v>1.1432937394705898</c:v>
                </c:pt>
                <c:pt idx="2274">
                  <c:v>1.1984539849418452</c:v>
                </c:pt>
                <c:pt idx="2275">
                  <c:v>1.1308584878490455</c:v>
                </c:pt>
                <c:pt idx="2276">
                  <c:v>1.1503693060186735</c:v>
                </c:pt>
                <c:pt idx="2277">
                  <c:v>1.1767227527253852</c:v>
                </c:pt>
                <c:pt idx="2278">
                  <c:v>1.1982595136567726</c:v>
                </c:pt>
                <c:pt idx="2279">
                  <c:v>1.1588058161487751</c:v>
                </c:pt>
                <c:pt idx="2280">
                  <c:v>1.2014770603040164</c:v>
                </c:pt>
                <c:pt idx="2281">
                  <c:v>1.1574315600034211</c:v>
                </c:pt>
                <c:pt idx="2282">
                  <c:v>1.1526682688141603</c:v>
                </c:pt>
                <c:pt idx="2283">
                  <c:v>1.0884304844776393</c:v>
                </c:pt>
                <c:pt idx="2284">
                  <c:v>1.0886260981664893</c:v>
                </c:pt>
                <c:pt idx="2285">
                  <c:v>1.0727727528746913</c:v>
                </c:pt>
                <c:pt idx="2286">
                  <c:v>1.0832870900828775</c:v>
                </c:pt>
                <c:pt idx="2287">
                  <c:v>1.1398237411633163</c:v>
                </c:pt>
                <c:pt idx="2288">
                  <c:v>1.1552857535751886</c:v>
                </c:pt>
                <c:pt idx="2289">
                  <c:v>1.145813769947934</c:v>
                </c:pt>
                <c:pt idx="2290">
                  <c:v>1.1435273117174227</c:v>
                </c:pt>
                <c:pt idx="2291">
                  <c:v>1.1615754758976682</c:v>
                </c:pt>
                <c:pt idx="2292">
                  <c:v>1.2386442811285296</c:v>
                </c:pt>
                <c:pt idx="2293">
                  <c:v>1.2207789580295914</c:v>
                </c:pt>
                <c:pt idx="2294">
                  <c:v>1.2040852396603052</c:v>
                </c:pt>
                <c:pt idx="2295">
                  <c:v>1.21180097755176</c:v>
                </c:pt>
                <c:pt idx="2296">
                  <c:v>1.2702035767690074</c:v>
                </c:pt>
                <c:pt idx="2297">
                  <c:v>1.2435804814297711</c:v>
                </c:pt>
                <c:pt idx="2298">
                  <c:v>1.2722169987679071</c:v>
                </c:pt>
                <c:pt idx="2299">
                  <c:v>1.2960501001384797</c:v>
                </c:pt>
                <c:pt idx="2300">
                  <c:v>1.3119249698198365</c:v>
                </c:pt>
                <c:pt idx="2301">
                  <c:v>1.3163081426614285</c:v>
                </c:pt>
                <c:pt idx="2302">
                  <c:v>1.3431085919072854</c:v>
                </c:pt>
                <c:pt idx="2303">
                  <c:v>1.3515204294661498</c:v>
                </c:pt>
                <c:pt idx="2304">
                  <c:v>1.3478413989715581</c:v>
                </c:pt>
                <c:pt idx="2305">
                  <c:v>1.392895107899081</c:v>
                </c:pt>
                <c:pt idx="2306">
                  <c:v>1.3815174066321365</c:v>
                </c:pt>
                <c:pt idx="2307">
                  <c:v>1.3815270994217881</c:v>
                </c:pt>
                <c:pt idx="2308">
                  <c:v>1.3621747318167363</c:v>
                </c:pt>
                <c:pt idx="2309">
                  <c:v>1.3181029994812155</c:v>
                </c:pt>
                <c:pt idx="2310">
                  <c:v>1.3048410745700239</c:v>
                </c:pt>
                <c:pt idx="2311">
                  <c:v>1.3136181498739115</c:v>
                </c:pt>
                <c:pt idx="2312">
                  <c:v>1.2952552227086442</c:v>
                </c:pt>
                <c:pt idx="2313">
                  <c:v>1.3084903998259898</c:v>
                </c:pt>
                <c:pt idx="2314">
                  <c:v>1.28652521406958</c:v>
                </c:pt>
                <c:pt idx="2315">
                  <c:v>1.2512336900541137</c:v>
                </c:pt>
                <c:pt idx="2316">
                  <c:v>1.2555982225822564</c:v>
                </c:pt>
                <c:pt idx="2317">
                  <c:v>1.2284246523237716</c:v>
                </c:pt>
                <c:pt idx="2318">
                  <c:v>1.1923923600182464</c:v>
                </c:pt>
                <c:pt idx="2319">
                  <c:v>1.2319353991123903</c:v>
                </c:pt>
                <c:pt idx="2320">
                  <c:v>1.2254377120877642</c:v>
                </c:pt>
                <c:pt idx="2321">
                  <c:v>1.2592024934617259</c:v>
                </c:pt>
                <c:pt idx="2322">
                  <c:v>1.2110347053124701</c:v>
                </c:pt>
                <c:pt idx="2323">
                  <c:v>1.2543268103355021</c:v>
                </c:pt>
                <c:pt idx="2324">
                  <c:v>1.2608173320618588</c:v>
                </c:pt>
                <c:pt idx="2325">
                  <c:v>1.2836749060287085</c:v>
                </c:pt>
                <c:pt idx="2326">
                  <c:v>1.2394297910315653</c:v>
                </c:pt>
                <c:pt idx="2327">
                  <c:v>1.2370638207270155</c:v>
                </c:pt>
                <c:pt idx="2328">
                  <c:v>1.2028252182869812</c:v>
                </c:pt>
                <c:pt idx="2329">
                  <c:v>1.1785635129355509</c:v>
                </c:pt>
                <c:pt idx="2330">
                  <c:v>1.1397170953667679</c:v>
                </c:pt>
                <c:pt idx="2331">
                  <c:v>1.1124180972046904</c:v>
                </c:pt>
                <c:pt idx="2332">
                  <c:v>1.0975896266390939</c:v>
                </c:pt>
                <c:pt idx="2333">
                  <c:v>1.0724598966325296</c:v>
                </c:pt>
                <c:pt idx="2334">
                  <c:v>1.0340124390634426</c:v>
                </c:pt>
                <c:pt idx="2335">
                  <c:v>0.9995203447355282</c:v>
                </c:pt>
                <c:pt idx="2336">
                  <c:v>1.0499974822082565</c:v>
                </c:pt>
                <c:pt idx="2337">
                  <c:v>1.0875838453607405</c:v>
                </c:pt>
                <c:pt idx="2338">
                  <c:v>1.1243540163235906</c:v>
                </c:pt>
                <c:pt idx="2339">
                  <c:v>1.1182386087981833</c:v>
                </c:pt>
                <c:pt idx="2340">
                  <c:v>1.0836212703113872</c:v>
                </c:pt>
                <c:pt idx="2341">
                  <c:v>1.0739625306505716</c:v>
                </c:pt>
                <c:pt idx="2342">
                  <c:v>1.096740258859088</c:v>
                </c:pt>
                <c:pt idx="2343">
                  <c:v>1.0786060075580104</c:v>
                </c:pt>
                <c:pt idx="2344">
                  <c:v>1.082872138789025</c:v>
                </c:pt>
                <c:pt idx="2345">
                  <c:v>1.0750709145281383</c:v>
                </c:pt>
                <c:pt idx="2346">
                  <c:v>1.1133282916810616</c:v>
                </c:pt>
                <c:pt idx="2347">
                  <c:v>1.1057176896456897</c:v>
                </c:pt>
                <c:pt idx="2348">
                  <c:v>1.1169832627194565</c:v>
                </c:pt>
                <c:pt idx="2349">
                  <c:v>1.0571643376417921</c:v>
                </c:pt>
                <c:pt idx="2350">
                  <c:v>1.0667109724993808</c:v>
                </c:pt>
                <c:pt idx="2351">
                  <c:v>1.0171752637777718</c:v>
                </c:pt>
                <c:pt idx="2352">
                  <c:v>1.015595912492397</c:v>
                </c:pt>
                <c:pt idx="2353">
                  <c:v>1.0230917757509317</c:v>
                </c:pt>
                <c:pt idx="2354">
                  <c:v>1.0287236260777597</c:v>
                </c:pt>
                <c:pt idx="2355">
                  <c:v>0.99732377523233529</c:v>
                </c:pt>
                <c:pt idx="2356">
                  <c:v>0.99549998989706545</c:v>
                </c:pt>
                <c:pt idx="2357">
                  <c:v>1.019849493065397</c:v>
                </c:pt>
                <c:pt idx="2358">
                  <c:v>1.0219774048832753</c:v>
                </c:pt>
                <c:pt idx="2359">
                  <c:v>1.0295929337342025</c:v>
                </c:pt>
                <c:pt idx="2360">
                  <c:v>1.0431958522765017</c:v>
                </c:pt>
                <c:pt idx="2361">
                  <c:v>1.02919279830941</c:v>
                </c:pt>
                <c:pt idx="2362">
                  <c:v>1.0176576666231043</c:v>
                </c:pt>
                <c:pt idx="2363">
                  <c:v>0.98305411972019663</c:v>
                </c:pt>
                <c:pt idx="2364">
                  <c:v>1.0239643492357278</c:v>
                </c:pt>
                <c:pt idx="2365">
                  <c:v>1.053662250406189</c:v>
                </c:pt>
                <c:pt idx="2366">
                  <c:v>1.0192253086953136</c:v>
                </c:pt>
                <c:pt idx="2367">
                  <c:v>0.99778006467921776</c:v>
                </c:pt>
                <c:pt idx="2368">
                  <c:v>0.95707342468061696</c:v>
                </c:pt>
                <c:pt idx="2369">
                  <c:v>0.99371796919390065</c:v>
                </c:pt>
                <c:pt idx="2370">
                  <c:v>1.0312619765936373</c:v>
                </c:pt>
                <c:pt idx="2371">
                  <c:v>1.0258133302437371</c:v>
                </c:pt>
                <c:pt idx="2372">
                  <c:v>1.022586790371538</c:v>
                </c:pt>
                <c:pt idx="2373">
                  <c:v>1.0389432971068124</c:v>
                </c:pt>
                <c:pt idx="2374">
                  <c:v>1.0391751056895562</c:v>
                </c:pt>
                <c:pt idx="2375">
                  <c:v>1.057892244040006</c:v>
                </c:pt>
                <c:pt idx="2376">
                  <c:v>1.0243131031736992</c:v>
                </c:pt>
                <c:pt idx="2377">
                  <c:v>1.0304241423042642</c:v>
                </c:pt>
                <c:pt idx="2378">
                  <c:v>1.0335020475129397</c:v>
                </c:pt>
                <c:pt idx="2379">
                  <c:v>1.0524072590784612</c:v>
                </c:pt>
                <c:pt idx="2380">
                  <c:v>1.0646812623861615</c:v>
                </c:pt>
                <c:pt idx="2381">
                  <c:v>1.0894933636666559</c:v>
                </c:pt>
                <c:pt idx="2382">
                  <c:v>1.1189199575237854</c:v>
                </c:pt>
                <c:pt idx="2383">
                  <c:v>1.0598458390796182</c:v>
                </c:pt>
                <c:pt idx="2384">
                  <c:v>1.0626378803270109</c:v>
                </c:pt>
                <c:pt idx="2385">
                  <c:v>1.0888457190989</c:v>
                </c:pt>
                <c:pt idx="2386">
                  <c:v>1.0829435196106338</c:v>
                </c:pt>
                <c:pt idx="2387">
                  <c:v>1.0921148452268359</c:v>
                </c:pt>
                <c:pt idx="2388">
                  <c:v>1.1360491592830357</c:v>
                </c:pt>
                <c:pt idx="2389">
                  <c:v>1.1753229730202208</c:v>
                </c:pt>
                <c:pt idx="2390">
                  <c:v>1.1791969532463416</c:v>
                </c:pt>
                <c:pt idx="2391">
                  <c:v>1.242426389502949</c:v>
                </c:pt>
                <c:pt idx="2392">
                  <c:v>1.2199601541762657</c:v>
                </c:pt>
                <c:pt idx="2393">
                  <c:v>1.2694817559033407</c:v>
                </c:pt>
                <c:pt idx="2394">
                  <c:v>1.3135701986063273</c:v>
                </c:pt>
                <c:pt idx="2395">
                  <c:v>1.3571551127266184</c:v>
                </c:pt>
                <c:pt idx="2396">
                  <c:v>1.50985098602478</c:v>
                </c:pt>
                <c:pt idx="2397">
                  <c:v>1.5650851946992108</c:v>
                </c:pt>
                <c:pt idx="2398">
                  <c:v>1.7643790220169056</c:v>
                </c:pt>
                <c:pt idx="2399">
                  <c:v>0.38183766184073509</c:v>
                </c:pt>
              </c:numCache>
            </c:numRef>
          </c:val>
          <c:smooth val="0"/>
          <c:extLst>
            <c:ext xmlns:c16="http://schemas.microsoft.com/office/drawing/2014/chart" uri="{C3380CC4-5D6E-409C-BE32-E72D297353CC}">
              <c16:uniqueId val="{00000000-2742-4CD8-8BD8-5E8DF8E79DA1}"/>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D$2:$D$2454</c:f>
              <c:numCache>
                <c:formatCode>#,##0.00</c:formatCode>
                <c:ptCount val="2401"/>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21.52995898261544</c:v>
                </c:pt>
                <c:pt idx="2254">
                  <c:v>21.528354414425255</c:v>
                </c:pt>
                <c:pt idx="2255">
                  <c:v>21.443528137074761</c:v>
                </c:pt>
                <c:pt idx="2256">
                  <c:v>21.305426660182462</c:v>
                </c:pt>
                <c:pt idx="2257">
                  <c:v>21.038157137618455</c:v>
                </c:pt>
                <c:pt idx="2258">
                  <c:v>20.671367584562269</c:v>
                </c:pt>
                <c:pt idx="2259">
                  <c:v>20.221359564670177</c:v>
                </c:pt>
                <c:pt idx="2260">
                  <c:v>19.629015281453626</c:v>
                </c:pt>
                <c:pt idx="2261">
                  <c:v>18.93312307941375</c:v>
                </c:pt>
                <c:pt idx="2262">
                  <c:v>18.115783998631059</c:v>
                </c:pt>
                <c:pt idx="2263">
                  <c:v>17.15104495325301</c:v>
                </c:pt>
                <c:pt idx="2264">
                  <c:v>15.959624862355829</c:v>
                </c:pt>
                <c:pt idx="2265">
                  <c:v>14.545972543676116</c:v>
                </c:pt>
                <c:pt idx="2266">
                  <c:v>12.829736601519464</c:v>
                </c:pt>
                <c:pt idx="2267">
                  <c:v>10.680124175953836</c:v>
                </c:pt>
                <c:pt idx="2268">
                  <c:v>7.7304349181006113</c:v>
                </c:pt>
                <c:pt idx="2269">
                  <c:v>1.1142826154645131</c:v>
                </c:pt>
                <c:pt idx="2270">
                  <c:v>1.1053540026907067</c:v>
                </c:pt>
                <c:pt idx="2271">
                  <c:v>1.1107118976315278</c:v>
                </c:pt>
                <c:pt idx="2272">
                  <c:v>1.1264606864693143</c:v>
                </c:pt>
                <c:pt idx="2273">
                  <c:v>1.1381992735048183</c:v>
                </c:pt>
                <c:pt idx="2274">
                  <c:v>1.135744021669769</c:v>
                </c:pt>
                <c:pt idx="2275">
                  <c:v>1.1323871642045276</c:v>
                </c:pt>
                <c:pt idx="2276">
                  <c:v>1.1073967090723937</c:v>
                </c:pt>
                <c:pt idx="2277">
                  <c:v>1.1064658971740591</c:v>
                </c:pt>
                <c:pt idx="2278">
                  <c:v>1.1434261883811572</c:v>
                </c:pt>
                <c:pt idx="2279">
                  <c:v>1.1688525171708157</c:v>
                </c:pt>
                <c:pt idx="2280">
                  <c:v>1.1876395985701866</c:v>
                </c:pt>
                <c:pt idx="2281">
                  <c:v>1.173613145841488</c:v>
                </c:pt>
                <c:pt idx="2282">
                  <c:v>1.1345627544028407</c:v>
                </c:pt>
                <c:pt idx="2283">
                  <c:v>1.0821107513378281</c:v>
                </c:pt>
                <c:pt idx="2284">
                  <c:v>1.0703616318742488</c:v>
                </c:pt>
                <c:pt idx="2285">
                  <c:v>1.1198389149347765</c:v>
                </c:pt>
                <c:pt idx="2286">
                  <c:v>1.1336128796549283</c:v>
                </c:pt>
                <c:pt idx="2287">
                  <c:v>1.1745974610062369</c:v>
                </c:pt>
                <c:pt idx="2288">
                  <c:v>1.2161065156766755</c:v>
                </c:pt>
                <c:pt idx="2289">
                  <c:v>1.2596899819299638</c:v>
                </c:pt>
                <c:pt idx="2290">
                  <c:v>1.2383901767557173</c:v>
                </c:pt>
                <c:pt idx="2291">
                  <c:v>1.2761470386941371</c:v>
                </c:pt>
                <c:pt idx="2292">
                  <c:v>1.2864439090121582</c:v>
                </c:pt>
                <c:pt idx="2293">
                  <c:v>1.3058633907887527</c:v>
                </c:pt>
                <c:pt idx="2294">
                  <c:v>1.2785730192356011</c:v>
                </c:pt>
                <c:pt idx="2295">
                  <c:v>1.2755920869987365</c:v>
                </c:pt>
                <c:pt idx="2296">
                  <c:v>1.2256100521780977</c:v>
                </c:pt>
                <c:pt idx="2297">
                  <c:v>1.2664680273768523</c:v>
                </c:pt>
                <c:pt idx="2298">
                  <c:v>1.2601286195984258</c:v>
                </c:pt>
                <c:pt idx="2299">
                  <c:v>1.256858700532183</c:v>
                </c:pt>
                <c:pt idx="2300">
                  <c:v>1.2669374786123597</c:v>
                </c:pt>
                <c:pt idx="2301">
                  <c:v>1.2704648438820454</c:v>
                </c:pt>
                <c:pt idx="2302">
                  <c:v>1.2653633343099882</c:v>
                </c:pt>
                <c:pt idx="2303">
                  <c:v>1.2556863306254233</c:v>
                </c:pt>
                <c:pt idx="2304">
                  <c:v>1.2544825832685511</c:v>
                </c:pt>
                <c:pt idx="2305">
                  <c:v>1.240886038651229</c:v>
                </c:pt>
                <c:pt idx="2306">
                  <c:v>1.2279653295491337</c:v>
                </c:pt>
                <c:pt idx="2307">
                  <c:v>1.2698368073265867</c:v>
                </c:pt>
                <c:pt idx="2308">
                  <c:v>1.2299696753574252</c:v>
                </c:pt>
                <c:pt idx="2309">
                  <c:v>1.1933821347499003</c:v>
                </c:pt>
                <c:pt idx="2310">
                  <c:v>1.1837227463514775</c:v>
                </c:pt>
                <c:pt idx="2311">
                  <c:v>1.2038264662813902</c:v>
                </c:pt>
                <c:pt idx="2312">
                  <c:v>1.1983141414542327</c:v>
                </c:pt>
                <c:pt idx="2313">
                  <c:v>1.2002607475332032</c:v>
                </c:pt>
                <c:pt idx="2314">
                  <c:v>1.2247131496193604</c:v>
                </c:pt>
                <c:pt idx="2315">
                  <c:v>1.1817058097046211</c:v>
                </c:pt>
                <c:pt idx="2316">
                  <c:v>1.1881191549826899</c:v>
                </c:pt>
                <c:pt idx="2317">
                  <c:v>1.1365600954523747</c:v>
                </c:pt>
                <c:pt idx="2318">
                  <c:v>1.1580795140747195</c:v>
                </c:pt>
                <c:pt idx="2319">
                  <c:v>1.1614792391551836</c:v>
                </c:pt>
                <c:pt idx="2320">
                  <c:v>1.1841724400677844</c:v>
                </c:pt>
                <c:pt idx="2321">
                  <c:v>1.1719219404391901</c:v>
                </c:pt>
                <c:pt idx="2322">
                  <c:v>1.1742692029170905</c:v>
                </c:pt>
                <c:pt idx="2323">
                  <c:v>1.1516595222427559</c:v>
                </c:pt>
                <c:pt idx="2324">
                  <c:v>1.1739274880189303</c:v>
                </c:pt>
                <c:pt idx="2325">
                  <c:v>1.1950118548923829</c:v>
                </c:pt>
                <c:pt idx="2326">
                  <c:v>1.1999279671866898</c:v>
                </c:pt>
                <c:pt idx="2327">
                  <c:v>1.1946134372121453</c:v>
                </c:pt>
                <c:pt idx="2328">
                  <c:v>1.235895552258343</c:v>
                </c:pt>
                <c:pt idx="2329">
                  <c:v>1.2526323547202325</c:v>
                </c:pt>
                <c:pt idx="2330">
                  <c:v>1.2337746958014664</c:v>
                </c:pt>
                <c:pt idx="2331">
                  <c:v>1.2276624362874609</c:v>
                </c:pt>
                <c:pt idx="2332">
                  <c:v>1.2249267395405243</c:v>
                </c:pt>
                <c:pt idx="2333">
                  <c:v>1.2083342766544078</c:v>
                </c:pt>
                <c:pt idx="2334">
                  <c:v>1.1953948513251647</c:v>
                </c:pt>
                <c:pt idx="2335">
                  <c:v>1.2286070984244113</c:v>
                </c:pt>
                <c:pt idx="2336">
                  <c:v>1.2269916486052899</c:v>
                </c:pt>
                <c:pt idx="2337">
                  <c:v>1.1641882870979647</c:v>
                </c:pt>
                <c:pt idx="2338">
                  <c:v>1.1837998432866588</c:v>
                </c:pt>
                <c:pt idx="2339">
                  <c:v>1.1755636456855372</c:v>
                </c:pt>
                <c:pt idx="2340">
                  <c:v>1.1845744179764051</c:v>
                </c:pt>
                <c:pt idx="2341">
                  <c:v>1.1705640648358628</c:v>
                </c:pt>
                <c:pt idx="2342">
                  <c:v>1.1688335869673616</c:v>
                </c:pt>
                <c:pt idx="2343">
                  <c:v>1.1662700146734619</c:v>
                </c:pt>
                <c:pt idx="2344">
                  <c:v>1.1427532793526629</c:v>
                </c:pt>
                <c:pt idx="2345">
                  <c:v>1.2032504349450293</c:v>
                </c:pt>
                <c:pt idx="2346">
                  <c:v>1.1879508097715081</c:v>
                </c:pt>
                <c:pt idx="2347">
                  <c:v>1.1774763584516863</c:v>
                </c:pt>
                <c:pt idx="2348">
                  <c:v>1.1433355618087595</c:v>
                </c:pt>
                <c:pt idx="2349">
                  <c:v>1.1537224112839493</c:v>
                </c:pt>
                <c:pt idx="2350">
                  <c:v>1.1323600113931516</c:v>
                </c:pt>
                <c:pt idx="2351">
                  <c:v>1.1429675028817214</c:v>
                </c:pt>
                <c:pt idx="2352">
                  <c:v>1.1155888605338107</c:v>
                </c:pt>
                <c:pt idx="2353">
                  <c:v>1.1029440227143801</c:v>
                </c:pt>
                <c:pt idx="2354">
                  <c:v>1.0807370835120633</c:v>
                </c:pt>
                <c:pt idx="2355">
                  <c:v>1.0416364225494463</c:v>
                </c:pt>
                <c:pt idx="2356">
                  <c:v>1.0543765385560655</c:v>
                </c:pt>
                <c:pt idx="2357">
                  <c:v>1.0143069090502763</c:v>
                </c:pt>
                <c:pt idx="2358">
                  <c:v>0.97593344647779212</c:v>
                </c:pt>
                <c:pt idx="2359">
                  <c:v>0.9401347421159012</c:v>
                </c:pt>
                <c:pt idx="2360">
                  <c:v>0.96274655000172749</c:v>
                </c:pt>
                <c:pt idx="2361">
                  <c:v>0.97373200778679592</c:v>
                </c:pt>
                <c:pt idx="2362">
                  <c:v>0.92862925801989116</c:v>
                </c:pt>
                <c:pt idx="2363">
                  <c:v>0.93191935174719831</c:v>
                </c:pt>
                <c:pt idx="2364">
                  <c:v>0.93293068079703145</c:v>
                </c:pt>
                <c:pt idx="2365">
                  <c:v>0.89486941190757852</c:v>
                </c:pt>
                <c:pt idx="2366">
                  <c:v>0.90626231263930623</c:v>
                </c:pt>
                <c:pt idx="2367">
                  <c:v>0.86117595355914622</c:v>
                </c:pt>
                <c:pt idx="2368">
                  <c:v>0.85451612980209635</c:v>
                </c:pt>
                <c:pt idx="2369">
                  <c:v>0.86685910772378538</c:v>
                </c:pt>
                <c:pt idx="2370">
                  <c:v>0.85808561317634802</c:v>
                </c:pt>
                <c:pt idx="2371">
                  <c:v>0.85136374710522922</c:v>
                </c:pt>
                <c:pt idx="2372">
                  <c:v>0.8611437004974275</c:v>
                </c:pt>
                <c:pt idx="2373">
                  <c:v>0.8630302219628021</c:v>
                </c:pt>
                <c:pt idx="2374">
                  <c:v>0.87801933277004107</c:v>
                </c:pt>
                <c:pt idx="2375">
                  <c:v>0.83488598945282066</c:v>
                </c:pt>
                <c:pt idx="2376">
                  <c:v>0.84859197105165529</c:v>
                </c:pt>
                <c:pt idx="2377">
                  <c:v>0.86644158169651231</c:v>
                </c:pt>
                <c:pt idx="2378">
                  <c:v>0.86300170148087962</c:v>
                </c:pt>
                <c:pt idx="2379">
                  <c:v>0.79781574107682096</c:v>
                </c:pt>
                <c:pt idx="2380">
                  <c:v>0.81685663485385374</c:v>
                </c:pt>
                <c:pt idx="2381">
                  <c:v>0.75590499960051349</c:v>
                </c:pt>
                <c:pt idx="2382">
                  <c:v>0.77626787442576617</c:v>
                </c:pt>
                <c:pt idx="2383">
                  <c:v>0.79656062137756434</c:v>
                </c:pt>
                <c:pt idx="2384">
                  <c:v>0.82107309626595637</c:v>
                </c:pt>
                <c:pt idx="2385">
                  <c:v>0.81568759338364305</c:v>
                </c:pt>
                <c:pt idx="2386">
                  <c:v>0.77714557072355361</c:v>
                </c:pt>
                <c:pt idx="2387">
                  <c:v>0.79628395178361577</c:v>
                </c:pt>
                <c:pt idx="2388">
                  <c:v>0.76340247139587725</c:v>
                </c:pt>
                <c:pt idx="2389">
                  <c:v>0.79704520612450869</c:v>
                </c:pt>
                <c:pt idx="2390">
                  <c:v>0.76149135970744319</c:v>
                </c:pt>
                <c:pt idx="2391">
                  <c:v>0.68197099970925723</c:v>
                </c:pt>
                <c:pt idx="2392">
                  <c:v>0.72311824759163645</c:v>
                </c:pt>
                <c:pt idx="2393">
                  <c:v>0.76404936265363654</c:v>
                </c:pt>
                <c:pt idx="2394">
                  <c:v>0.82360415827253375</c:v>
                </c:pt>
                <c:pt idx="2395">
                  <c:v>0.89767291741851385</c:v>
                </c:pt>
                <c:pt idx="2396">
                  <c:v>0.82314640253116567</c:v>
                </c:pt>
                <c:pt idx="2397">
                  <c:v>0.93289424195171566</c:v>
                </c:pt>
                <c:pt idx="2398">
                  <c:v>1.1001969520650978</c:v>
                </c:pt>
                <c:pt idx="2399">
                  <c:v>0.6434671708797558</c:v>
                </c:pt>
              </c:numCache>
            </c:numRef>
          </c:val>
          <c:smooth val="0"/>
          <c:extLst>
            <c:ext xmlns:c16="http://schemas.microsoft.com/office/drawing/2014/chart" uri="{C3380CC4-5D6E-409C-BE32-E72D297353CC}">
              <c16:uniqueId val="{00000001-2742-4CD8-8BD8-5E8DF8E79DA1}"/>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E$2:$E$2454</c:f>
              <c:numCache>
                <c:formatCode>#,##0.00</c:formatCode>
                <c:ptCount val="2401"/>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5.931683402961461</c:v>
                </c:pt>
                <c:pt idx="2254">
                  <c:v>46.097148788583247</c:v>
                </c:pt>
                <c:pt idx="2255">
                  <c:v>46.335904997679961</c:v>
                </c:pt>
                <c:pt idx="2256">
                  <c:v>46.091874767037083</c:v>
                </c:pt>
                <c:pt idx="2257">
                  <c:v>45.519024695125026</c:v>
                </c:pt>
                <c:pt idx="2258">
                  <c:v>44.735814549958469</c:v>
                </c:pt>
                <c:pt idx="2259">
                  <c:v>43.826932358995876</c:v>
                </c:pt>
                <c:pt idx="2260">
                  <c:v>42.740919584123972</c:v>
                </c:pt>
                <c:pt idx="2261">
                  <c:v>41.240589313157869</c:v>
                </c:pt>
                <c:pt idx="2262">
                  <c:v>39.399063528167154</c:v>
                </c:pt>
                <c:pt idx="2263">
                  <c:v>37.434525216181385</c:v>
                </c:pt>
                <c:pt idx="2264">
                  <c:v>35.026492436637049</c:v>
                </c:pt>
                <c:pt idx="2265">
                  <c:v>32.124470566772032</c:v>
                </c:pt>
                <c:pt idx="2266">
                  <c:v>28.587916424903039</c:v>
                </c:pt>
                <c:pt idx="2267">
                  <c:v>23.940635392330464</c:v>
                </c:pt>
                <c:pt idx="2268">
                  <c:v>17.721861296604597</c:v>
                </c:pt>
                <c:pt idx="2269">
                  <c:v>6.0894670699004774</c:v>
                </c:pt>
                <c:pt idx="2270">
                  <c:v>6.0257111947303663</c:v>
                </c:pt>
                <c:pt idx="2271">
                  <c:v>6.014923968333064</c:v>
                </c:pt>
                <c:pt idx="2272">
                  <c:v>5.8397173605042498</c:v>
                </c:pt>
                <c:pt idx="2273">
                  <c:v>6.0142550966695856</c:v>
                </c:pt>
                <c:pt idx="2274">
                  <c:v>6.2584196161614178</c:v>
                </c:pt>
                <c:pt idx="2275">
                  <c:v>6.2848111009570244</c:v>
                </c:pt>
                <c:pt idx="2276">
                  <c:v>6.2072445624021677</c:v>
                </c:pt>
                <c:pt idx="2277">
                  <c:v>6.1199691983298203</c:v>
                </c:pt>
                <c:pt idx="2278">
                  <c:v>6.3321838037234786</c:v>
                </c:pt>
                <c:pt idx="2279">
                  <c:v>6.3915353505969943</c:v>
                </c:pt>
                <c:pt idx="2280">
                  <c:v>6.1741954662265446</c:v>
                </c:pt>
                <c:pt idx="2281">
                  <c:v>6.3622449590958254</c:v>
                </c:pt>
                <c:pt idx="2282">
                  <c:v>6.0557752429481271</c:v>
                </c:pt>
                <c:pt idx="2283">
                  <c:v>6.1941759816745616</c:v>
                </c:pt>
                <c:pt idx="2284">
                  <c:v>6.4219451344857212</c:v>
                </c:pt>
                <c:pt idx="2285">
                  <c:v>6.4931440412353307</c:v>
                </c:pt>
                <c:pt idx="2286">
                  <c:v>6.6898447656508244</c:v>
                </c:pt>
                <c:pt idx="2287">
                  <c:v>6.8073658550909011</c:v>
                </c:pt>
                <c:pt idx="2288">
                  <c:v>6.8060993605549962</c:v>
                </c:pt>
                <c:pt idx="2289">
                  <c:v>6.8568281263294768</c:v>
                </c:pt>
                <c:pt idx="2290">
                  <c:v>6.9106780611143952</c:v>
                </c:pt>
                <c:pt idx="2291">
                  <c:v>7.0228690472749387</c:v>
                </c:pt>
                <c:pt idx="2292">
                  <c:v>7.0168925892588234</c:v>
                </c:pt>
                <c:pt idx="2293">
                  <c:v>6.9286179809855852</c:v>
                </c:pt>
                <c:pt idx="2294">
                  <c:v>6.727965312141504</c:v>
                </c:pt>
                <c:pt idx="2295">
                  <c:v>6.5051703574395612</c:v>
                </c:pt>
                <c:pt idx="2296">
                  <c:v>6.0795492875894892</c:v>
                </c:pt>
                <c:pt idx="2297">
                  <c:v>6.2130748305951311</c:v>
                </c:pt>
                <c:pt idx="2298">
                  <c:v>6.0123436247497501</c:v>
                </c:pt>
                <c:pt idx="2299">
                  <c:v>6.1424657147981918</c:v>
                </c:pt>
                <c:pt idx="2300">
                  <c:v>6.0610874939399615</c:v>
                </c:pt>
                <c:pt idx="2301">
                  <c:v>6.0973896808011405</c:v>
                </c:pt>
                <c:pt idx="2302">
                  <c:v>6.0973896808011396</c:v>
                </c:pt>
                <c:pt idx="2303">
                  <c:v>5.9174396451525366</c:v>
                </c:pt>
                <c:pt idx="2304">
                  <c:v>5.6811849176879923</c:v>
                </c:pt>
                <c:pt idx="2305">
                  <c:v>5.6811849176879923</c:v>
                </c:pt>
                <c:pt idx="2306">
                  <c:v>5.6811849176879923</c:v>
                </c:pt>
                <c:pt idx="2307">
                  <c:v>5.6442423109189601</c:v>
                </c:pt>
                <c:pt idx="2308">
                  <c:v>5.3456395378818353</c:v>
                </c:pt>
                <c:pt idx="2309">
                  <c:v>5.4830983773859057</c:v>
                </c:pt>
                <c:pt idx="2310">
                  <c:v>5.5733355331899084</c:v>
                </c:pt>
                <c:pt idx="2311">
                  <c:v>5.644242310918961</c:v>
                </c:pt>
                <c:pt idx="2312">
                  <c:v>5.817630753683745</c:v>
                </c:pt>
                <c:pt idx="2313">
                  <c:v>5.8411933908992486</c:v>
                </c:pt>
                <c:pt idx="2314">
                  <c:v>5.7571544695454273</c:v>
                </c:pt>
                <c:pt idx="2315">
                  <c:v>5.9346053137411801</c:v>
                </c:pt>
                <c:pt idx="2316">
                  <c:v>5.832922809856746</c:v>
                </c:pt>
                <c:pt idx="2317">
                  <c:v>5.9503694466582608</c:v>
                </c:pt>
                <c:pt idx="2318">
                  <c:v>5.9855189233356532</c:v>
                </c:pt>
                <c:pt idx="2319">
                  <c:v>5.9253012921115547</c:v>
                </c:pt>
                <c:pt idx="2320">
                  <c:v>5.8068528679384546</c:v>
                </c:pt>
                <c:pt idx="2321">
                  <c:v>5.8068528679384546</c:v>
                </c:pt>
                <c:pt idx="2322">
                  <c:v>6.0656371489719447</c:v>
                </c:pt>
                <c:pt idx="2323">
                  <c:v>5.869167439831787</c:v>
                </c:pt>
                <c:pt idx="2324">
                  <c:v>6.0883344267503912</c:v>
                </c:pt>
                <c:pt idx="2325">
                  <c:v>6.2363413972447423</c:v>
                </c:pt>
                <c:pt idx="2326">
                  <c:v>6.4620021095917179</c:v>
                </c:pt>
                <c:pt idx="2327">
                  <c:v>6.5586654095191497</c:v>
                </c:pt>
                <c:pt idx="2328">
                  <c:v>6.6089455225126672</c:v>
                </c:pt>
                <c:pt idx="2329">
                  <c:v>6.5144401934842229</c:v>
                </c:pt>
                <c:pt idx="2330">
                  <c:v>6.4899568742700495</c:v>
                </c:pt>
                <c:pt idx="2331">
                  <c:v>6.4758614569179445</c:v>
                </c:pt>
                <c:pt idx="2332">
                  <c:v>6.555597765952812</c:v>
                </c:pt>
                <c:pt idx="2333">
                  <c:v>6.5689097050152618</c:v>
                </c:pt>
                <c:pt idx="2334">
                  <c:v>6.6092933525975113</c:v>
                </c:pt>
                <c:pt idx="2335">
                  <c:v>6.7125718386960447</c:v>
                </c:pt>
                <c:pt idx="2336">
                  <c:v>6.9029395704035892</c:v>
                </c:pt>
                <c:pt idx="2337">
                  <c:v>7.0254872617041864</c:v>
                </c:pt>
                <c:pt idx="2338">
                  <c:v>7.1483460027276697</c:v>
                </c:pt>
                <c:pt idx="2339">
                  <c:v>6.9896475171351167</c:v>
                </c:pt>
                <c:pt idx="2340">
                  <c:v>6.8800060144320154</c:v>
                </c:pt>
                <c:pt idx="2341">
                  <c:v>6.7196743216100705</c:v>
                </c:pt>
                <c:pt idx="2342">
                  <c:v>6.6003308868640795</c:v>
                </c:pt>
                <c:pt idx="2343">
                  <c:v>6.6037258727402399</c:v>
                </c:pt>
                <c:pt idx="2344">
                  <c:v>6.7606875798045971</c:v>
                </c:pt>
                <c:pt idx="2345">
                  <c:v>6.5555977659528137</c:v>
                </c:pt>
                <c:pt idx="2346">
                  <c:v>6.6627287220018578</c:v>
                </c:pt>
                <c:pt idx="2347">
                  <c:v>6.5985020940405468</c:v>
                </c:pt>
                <c:pt idx="2348">
                  <c:v>6.5636582174426401</c:v>
                </c:pt>
                <c:pt idx="2349">
                  <c:v>6.7908830025279467</c:v>
                </c:pt>
                <c:pt idx="2350">
                  <c:v>7.0205773086781438</c:v>
                </c:pt>
                <c:pt idx="2351">
                  <c:v>6.923639332691689</c:v>
                </c:pt>
                <c:pt idx="2352">
                  <c:v>6.7042618114734767</c:v>
                </c:pt>
                <c:pt idx="2353">
                  <c:v>6.6888997084980151</c:v>
                </c:pt>
                <c:pt idx="2354">
                  <c:v>6.6142479438004873</c:v>
                </c:pt>
                <c:pt idx="2355">
                  <c:v>6.4054574432643969</c:v>
                </c:pt>
                <c:pt idx="2356">
                  <c:v>6.2913916739782056</c:v>
                </c:pt>
                <c:pt idx="2357">
                  <c:v>6.338080495529864</c:v>
                </c:pt>
                <c:pt idx="2358">
                  <c:v>6.2881022482985651</c:v>
                </c:pt>
                <c:pt idx="2359">
                  <c:v>6.2061334141333919</c:v>
                </c:pt>
                <c:pt idx="2360">
                  <c:v>6.4076104176492983</c:v>
                </c:pt>
                <c:pt idx="2361">
                  <c:v>6.4256132584467327</c:v>
                </c:pt>
                <c:pt idx="2362">
                  <c:v>6.3543812381332803</c:v>
                </c:pt>
                <c:pt idx="2363">
                  <c:v>6.4097626688719433</c:v>
                </c:pt>
                <c:pt idx="2364">
                  <c:v>6.4899568742700495</c:v>
                </c:pt>
                <c:pt idx="2365">
                  <c:v>6.4094936769921453</c:v>
                </c:pt>
                <c:pt idx="2366">
                  <c:v>6.223887981735805</c:v>
                </c:pt>
                <c:pt idx="2367">
                  <c:v>6.1158358607685077</c:v>
                </c:pt>
                <c:pt idx="2368">
                  <c:v>6.0894670699004774</c:v>
                </c:pt>
                <c:pt idx="2369">
                  <c:v>6.0894670699004774</c:v>
                </c:pt>
                <c:pt idx="2370">
                  <c:v>6.0599495464687756</c:v>
                </c:pt>
                <c:pt idx="2371">
                  <c:v>6.0409521971520244</c:v>
                </c:pt>
                <c:pt idx="2372">
                  <c:v>5.9670689060919395</c:v>
                </c:pt>
                <c:pt idx="2373">
                  <c:v>5.9960304329098397</c:v>
                </c:pt>
                <c:pt idx="2374">
                  <c:v>5.7892719331250548</c:v>
                </c:pt>
                <c:pt idx="2375">
                  <c:v>5.8918457340502526</c:v>
                </c:pt>
                <c:pt idx="2376">
                  <c:v>5.8380932960456651</c:v>
                </c:pt>
                <c:pt idx="2377">
                  <c:v>5.7854139430773337</c:v>
                </c:pt>
                <c:pt idx="2378">
                  <c:v>5.9120697873046506</c:v>
                </c:pt>
                <c:pt idx="2379">
                  <c:v>5.5267942376620605</c:v>
                </c:pt>
                <c:pt idx="2380">
                  <c:v>5.3224591523628844</c:v>
                </c:pt>
                <c:pt idx="2381">
                  <c:v>5.4192638847570045</c:v>
                </c:pt>
                <c:pt idx="2382">
                  <c:v>5.5625102667623239</c:v>
                </c:pt>
                <c:pt idx="2383">
                  <c:v>5.7189056954054749</c:v>
                </c:pt>
                <c:pt idx="2384">
                  <c:v>5.3039940555374363</c:v>
                </c:pt>
                <c:pt idx="2385">
                  <c:v>5.4757039121316025</c:v>
                </c:pt>
                <c:pt idx="2386">
                  <c:v>5.5908087838114149</c:v>
                </c:pt>
                <c:pt idx="2387">
                  <c:v>5.2503270437120459</c:v>
                </c:pt>
                <c:pt idx="2388">
                  <c:v>5.3792097408353063</c:v>
                </c:pt>
                <c:pt idx="2389">
                  <c:v>5.4411451557609274</c:v>
                </c:pt>
                <c:pt idx="2390">
                  <c:v>5.0290067698213612</c:v>
                </c:pt>
                <c:pt idx="2391">
                  <c:v>5.2025634707004453</c:v>
                </c:pt>
                <c:pt idx="2392">
                  <c:v>5.0110987927909694</c:v>
                </c:pt>
                <c:pt idx="2393">
                  <c:v>4.8088460154178359</c:v>
                </c:pt>
                <c:pt idx="2394">
                  <c:v>4.3861253103502689</c:v>
                </c:pt>
                <c:pt idx="2395">
                  <c:v>4.6761807778000488</c:v>
                </c:pt>
                <c:pt idx="2396">
                  <c:v>5.1478150704935004</c:v>
                </c:pt>
                <c:pt idx="2397">
                  <c:v>5.3541261347363367</c:v>
                </c:pt>
                <c:pt idx="2398">
                  <c:v>0.57735026918962573</c:v>
                </c:pt>
                <c:pt idx="2399">
                  <c:v>0.70710678118654757</c:v>
                </c:pt>
              </c:numCache>
            </c:numRef>
          </c:val>
          <c:smooth val="0"/>
          <c:extLst>
            <c:ext xmlns:c16="http://schemas.microsoft.com/office/drawing/2014/chart" uri="{C3380CC4-5D6E-409C-BE32-E72D297353CC}">
              <c16:uniqueId val="{00000002-2742-4CD8-8BD8-5E8DF8E79DA1}"/>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F$2:$F$2454</c:f>
              <c:numCache>
                <c:formatCode>#,##0.00</c:formatCode>
                <c:ptCount val="2401"/>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101.36666118601322</c:v>
                </c:pt>
                <c:pt idx="2254">
                  <c:v>101.83974338799825</c:v>
                </c:pt>
                <c:pt idx="2255">
                  <c:v>102.22232362980144</c:v>
                </c:pt>
                <c:pt idx="2256">
                  <c:v>101.27835774303628</c:v>
                </c:pt>
                <c:pt idx="2257">
                  <c:v>100.59158919160167</c:v>
                </c:pt>
                <c:pt idx="2258">
                  <c:v>99.306815869611484</c:v>
                </c:pt>
                <c:pt idx="2259">
                  <c:v>97.139572532125854</c:v>
                </c:pt>
                <c:pt idx="2260">
                  <c:v>94.374047913291463</c:v>
                </c:pt>
                <c:pt idx="2261">
                  <c:v>91.094374455677922</c:v>
                </c:pt>
                <c:pt idx="2262">
                  <c:v>86.924336234940895</c:v>
                </c:pt>
                <c:pt idx="2263">
                  <c:v>82.071100377912444</c:v>
                </c:pt>
                <c:pt idx="2264">
                  <c:v>76.508319733907015</c:v>
                </c:pt>
                <c:pt idx="2265">
                  <c:v>69.862294765381549</c:v>
                </c:pt>
                <c:pt idx="2266">
                  <c:v>62.260151274965672</c:v>
                </c:pt>
                <c:pt idx="2267">
                  <c:v>52.315148022763722</c:v>
                </c:pt>
                <c:pt idx="2268">
                  <c:v>38.8199646467177</c:v>
                </c:pt>
                <c:pt idx="2269">
                  <c:v>12.968751125190366</c:v>
                </c:pt>
                <c:pt idx="2270">
                  <c:v>12.899968814004895</c:v>
                </c:pt>
                <c:pt idx="2271">
                  <c:v>12.452622859942158</c:v>
                </c:pt>
                <c:pt idx="2272">
                  <c:v>12.513165480597928</c:v>
                </c:pt>
                <c:pt idx="2273">
                  <c:v>12.54325848148452</c:v>
                </c:pt>
                <c:pt idx="2274">
                  <c:v>12.470885634378464</c:v>
                </c:pt>
                <c:pt idx="2275">
                  <c:v>12.314648785598543</c:v>
                </c:pt>
                <c:pt idx="2276">
                  <c:v>12.533908032800969</c:v>
                </c:pt>
                <c:pt idx="2277">
                  <c:v>12.582646323637453</c:v>
                </c:pt>
                <c:pt idx="2278">
                  <c:v>12.507469032909709</c:v>
                </c:pt>
                <c:pt idx="2279">
                  <c:v>12.235289079158479</c:v>
                </c:pt>
                <c:pt idx="2280">
                  <c:v>12.184454010756077</c:v>
                </c:pt>
                <c:pt idx="2281">
                  <c:v>12.064005548948385</c:v>
                </c:pt>
                <c:pt idx="2282">
                  <c:v>12.112689271144966</c:v>
                </c:pt>
                <c:pt idx="2283">
                  <c:v>11.837986781310526</c:v>
                </c:pt>
                <c:pt idx="2284">
                  <c:v>12.049705485979754</c:v>
                </c:pt>
                <c:pt idx="2285">
                  <c:v>11.625576243288148</c:v>
                </c:pt>
                <c:pt idx="2286">
                  <c:v>11.809795272053451</c:v>
                </c:pt>
                <c:pt idx="2287">
                  <c:v>11.7624475520103</c:v>
                </c:pt>
                <c:pt idx="2288">
                  <c:v>11.903636071559728</c:v>
                </c:pt>
                <c:pt idx="2289">
                  <c:v>12.184595513027585</c:v>
                </c:pt>
                <c:pt idx="2290">
                  <c:v>12.614031595942997</c:v>
                </c:pt>
                <c:pt idx="2291">
                  <c:v>13.111546197079917</c:v>
                </c:pt>
                <c:pt idx="2292">
                  <c:v>12.917109743976438</c:v>
                </c:pt>
                <c:pt idx="2293">
                  <c:v>12.693739972236655</c:v>
                </c:pt>
                <c:pt idx="2294">
                  <c:v>12.955449747535573</c:v>
                </c:pt>
                <c:pt idx="2295">
                  <c:v>13.280743989684472</c:v>
                </c:pt>
                <c:pt idx="2296">
                  <c:v>12.995180362106488</c:v>
                </c:pt>
                <c:pt idx="2297">
                  <c:v>13.163909212203128</c:v>
                </c:pt>
                <c:pt idx="2298">
                  <c:v>12.954385047312085</c:v>
                </c:pt>
                <c:pt idx="2299">
                  <c:v>13.048142511043698</c:v>
                </c:pt>
                <c:pt idx="2300">
                  <c:v>12.927916865557213</c:v>
                </c:pt>
                <c:pt idx="2301">
                  <c:v>12.892348260815828</c:v>
                </c:pt>
                <c:pt idx="2302">
                  <c:v>13.21284641342764</c:v>
                </c:pt>
                <c:pt idx="2303">
                  <c:v>13.433574339699389</c:v>
                </c:pt>
                <c:pt idx="2304">
                  <c:v>13.369419557719954</c:v>
                </c:pt>
                <c:pt idx="2305">
                  <c:v>13.448966973105337</c:v>
                </c:pt>
                <c:pt idx="2306">
                  <c:v>13.408009272210331</c:v>
                </c:pt>
                <c:pt idx="2307">
                  <c:v>13.575205593159602</c:v>
                </c:pt>
                <c:pt idx="2308">
                  <c:v>13.65759440961223</c:v>
                </c:pt>
                <c:pt idx="2309">
                  <c:v>13.953329434183463</c:v>
                </c:pt>
                <c:pt idx="2310">
                  <c:v>14.140550640402695</c:v>
                </c:pt>
                <c:pt idx="2311">
                  <c:v>13.857899527357846</c:v>
                </c:pt>
                <c:pt idx="2312">
                  <c:v>14.17010776328072</c:v>
                </c:pt>
                <c:pt idx="2313">
                  <c:v>13.968807615787991</c:v>
                </c:pt>
                <c:pt idx="2314">
                  <c:v>14.036242088038486</c:v>
                </c:pt>
                <c:pt idx="2315">
                  <c:v>14.165239955203925</c:v>
                </c:pt>
                <c:pt idx="2316">
                  <c:v>13.92760427781965</c:v>
                </c:pt>
                <c:pt idx="2317">
                  <c:v>13.960370841169961</c:v>
                </c:pt>
                <c:pt idx="2318">
                  <c:v>13.693021966487626</c:v>
                </c:pt>
                <c:pt idx="2319">
                  <c:v>13.697428234157135</c:v>
                </c:pt>
                <c:pt idx="2320">
                  <c:v>13.226410360883364</c:v>
                </c:pt>
                <c:pt idx="2321">
                  <c:v>13.042106874433207</c:v>
                </c:pt>
                <c:pt idx="2322">
                  <c:v>13.263899671015256</c:v>
                </c:pt>
                <c:pt idx="2323">
                  <c:v>13.270873820288664</c:v>
                </c:pt>
                <c:pt idx="2324">
                  <c:v>13.124558011167679</c:v>
                </c:pt>
                <c:pt idx="2325">
                  <c:v>12.909454790521007</c:v>
                </c:pt>
                <c:pt idx="2326">
                  <c:v>12.794754672381835</c:v>
                </c:pt>
                <c:pt idx="2327">
                  <c:v>12.644975377550191</c:v>
                </c:pt>
                <c:pt idx="2328">
                  <c:v>12.897295448467382</c:v>
                </c:pt>
                <c:pt idx="2329">
                  <c:v>12.735189730477687</c:v>
                </c:pt>
                <c:pt idx="2330">
                  <c:v>12.912659741865554</c:v>
                </c:pt>
                <c:pt idx="2331">
                  <c:v>12.743986636931901</c:v>
                </c:pt>
                <c:pt idx="2332">
                  <c:v>12.168170273960335</c:v>
                </c:pt>
                <c:pt idx="2333">
                  <c:v>12.366064055708472</c:v>
                </c:pt>
                <c:pt idx="2334">
                  <c:v>12.133548059234245</c:v>
                </c:pt>
                <c:pt idx="2335">
                  <c:v>11.882615525385729</c:v>
                </c:pt>
                <c:pt idx="2336">
                  <c:v>11.740537887382224</c:v>
                </c:pt>
                <c:pt idx="2337">
                  <c:v>11.415305313582238</c:v>
                </c:pt>
                <c:pt idx="2338">
                  <c:v>11.643408672602769</c:v>
                </c:pt>
                <c:pt idx="2339">
                  <c:v>11.372481406154654</c:v>
                </c:pt>
                <c:pt idx="2340">
                  <c:v>11.631358723172733</c:v>
                </c:pt>
                <c:pt idx="2341">
                  <c:v>11.786462134804166</c:v>
                </c:pt>
                <c:pt idx="2342">
                  <c:v>11.349261963953284</c:v>
                </c:pt>
                <c:pt idx="2343">
                  <c:v>11.452249691152641</c:v>
                </c:pt>
                <c:pt idx="2344">
                  <c:v>11.312133654447862</c:v>
                </c:pt>
                <c:pt idx="2345">
                  <c:v>11.247681753480858</c:v>
                </c:pt>
                <c:pt idx="2346">
                  <c:v>11.187071766670835</c:v>
                </c:pt>
                <c:pt idx="2347">
                  <c:v>10.960745003624652</c:v>
                </c:pt>
                <c:pt idx="2348">
                  <c:v>11.132225149609992</c:v>
                </c:pt>
                <c:pt idx="2349">
                  <c:v>11.149403365306094</c:v>
                </c:pt>
                <c:pt idx="2350">
                  <c:v>11.046609715514375</c:v>
                </c:pt>
                <c:pt idx="2351">
                  <c:v>10.863891472719823</c:v>
                </c:pt>
                <c:pt idx="2352">
                  <c:v>10.56175055152524</c:v>
                </c:pt>
                <c:pt idx="2353">
                  <c:v>10.824886185061727</c:v>
                </c:pt>
                <c:pt idx="2354">
                  <c:v>10.749445321161632</c:v>
                </c:pt>
                <c:pt idx="2355">
                  <c:v>11.182909785219936</c:v>
                </c:pt>
                <c:pt idx="2356">
                  <c:v>11.517153623452581</c:v>
                </c:pt>
                <c:pt idx="2357">
                  <c:v>11.530868117372163</c:v>
                </c:pt>
                <c:pt idx="2358">
                  <c:v>11.072436523851136</c:v>
                </c:pt>
                <c:pt idx="2359">
                  <c:v>11.183732027769867</c:v>
                </c:pt>
                <c:pt idx="2360">
                  <c:v>11.037084822511346</c:v>
                </c:pt>
                <c:pt idx="2361">
                  <c:v>11.613557277754227</c:v>
                </c:pt>
                <c:pt idx="2362">
                  <c:v>12.001388808522675</c:v>
                </c:pt>
                <c:pt idx="2363">
                  <c:v>11.726578515413646</c:v>
                </c:pt>
                <c:pt idx="2364">
                  <c:v>11.999233692007264</c:v>
                </c:pt>
                <c:pt idx="2365">
                  <c:v>12.326450393781043</c:v>
                </c:pt>
                <c:pt idx="2366">
                  <c:v>12.279737538847826</c:v>
                </c:pt>
                <c:pt idx="2367">
                  <c:v>12.683095818459696</c:v>
                </c:pt>
                <c:pt idx="2368">
                  <c:v>12.528404508964016</c:v>
                </c:pt>
                <c:pt idx="2369">
                  <c:v>12.698311952254977</c:v>
                </c:pt>
                <c:pt idx="2370">
                  <c:v>12.698311952254977</c:v>
                </c:pt>
                <c:pt idx="2371">
                  <c:v>12.647474874047198</c:v>
                </c:pt>
                <c:pt idx="2372">
                  <c:v>12.871283958444716</c:v>
                </c:pt>
                <c:pt idx="2373">
                  <c:v>13.031250594762273</c:v>
                </c:pt>
                <c:pt idx="2374">
                  <c:v>12.958293827405633</c:v>
                </c:pt>
                <c:pt idx="2375">
                  <c:v>12.983776859545204</c:v>
                </c:pt>
                <c:pt idx="2376">
                  <c:v>13.15826736314474</c:v>
                </c:pt>
                <c:pt idx="2377">
                  <c:v>13.277146105080421</c:v>
                </c:pt>
                <c:pt idx="2378">
                  <c:v>13.216052043653331</c:v>
                </c:pt>
                <c:pt idx="2379">
                  <c:v>13.099023459190215</c:v>
                </c:pt>
                <c:pt idx="2380">
                  <c:v>13.416052928878752</c:v>
                </c:pt>
                <c:pt idx="2381">
                  <c:v>13.730871862531641</c:v>
                </c:pt>
                <c:pt idx="2382">
                  <c:v>13.926708741632712</c:v>
                </c:pt>
                <c:pt idx="2383">
                  <c:v>13.706183900859605</c:v>
                </c:pt>
                <c:pt idx="2384">
                  <c:v>14.051114672132305</c:v>
                </c:pt>
                <c:pt idx="2385">
                  <c:v>13.956479976460159</c:v>
                </c:pt>
                <c:pt idx="2386">
                  <c:v>12.959644321985882</c:v>
                </c:pt>
                <c:pt idx="2387">
                  <c:v>13.025123652151873</c:v>
                </c:pt>
                <c:pt idx="2388">
                  <c:v>13.48978721012155</c:v>
                </c:pt>
                <c:pt idx="2389">
                  <c:v>14.07340065728984</c:v>
                </c:pt>
                <c:pt idx="2390">
                  <c:v>14.734005195156852</c:v>
                </c:pt>
                <c:pt idx="2391">
                  <c:v>14.841383583300672</c:v>
                </c:pt>
                <c:pt idx="2392">
                  <c:v>15.157506391224119</c:v>
                </c:pt>
                <c:pt idx="2393">
                  <c:v>14.82216005079653</c:v>
                </c:pt>
                <c:pt idx="2394">
                  <c:v>13.313079855469029</c:v>
                </c:pt>
                <c:pt idx="2395">
                  <c:v>14.099645385611653</c:v>
                </c:pt>
                <c:pt idx="2396">
                  <c:v>13.45362404707371</c:v>
                </c:pt>
                <c:pt idx="2397">
                  <c:v>14.863265679744362</c:v>
                </c:pt>
                <c:pt idx="2398">
                  <c:v>5.5075705472861021</c:v>
                </c:pt>
                <c:pt idx="2399">
                  <c:v>7.0710678118654755</c:v>
                </c:pt>
              </c:numCache>
            </c:numRef>
          </c:val>
          <c:smooth val="0"/>
          <c:extLst>
            <c:ext xmlns:c16="http://schemas.microsoft.com/office/drawing/2014/chart" uri="{C3380CC4-5D6E-409C-BE32-E72D297353CC}">
              <c16:uniqueId val="{00000003-2742-4CD8-8BD8-5E8DF8E79DA1}"/>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G$2:$G$2454</c:f>
              <c:numCache>
                <c:formatCode>#,##0.00</c:formatCode>
                <c:ptCount val="2401"/>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24.967196869897709</c:v>
                </c:pt>
                <c:pt idx="2254">
                  <c:v>25.207187444270232</c:v>
                </c:pt>
                <c:pt idx="2255">
                  <c:v>25.275971052437889</c:v>
                </c:pt>
                <c:pt idx="2256">
                  <c:v>25.287223615116776</c:v>
                </c:pt>
                <c:pt idx="2257">
                  <c:v>25.034436053279634</c:v>
                </c:pt>
                <c:pt idx="2258">
                  <c:v>24.745160910888153</c:v>
                </c:pt>
                <c:pt idx="2259">
                  <c:v>24.126319867415081</c:v>
                </c:pt>
                <c:pt idx="2260">
                  <c:v>23.487340684159907</c:v>
                </c:pt>
                <c:pt idx="2261">
                  <c:v>22.678158006652847</c:v>
                </c:pt>
                <c:pt idx="2262">
                  <c:v>21.689263194747639</c:v>
                </c:pt>
                <c:pt idx="2263">
                  <c:v>20.535055533090883</c:v>
                </c:pt>
                <c:pt idx="2264">
                  <c:v>19.162613264542934</c:v>
                </c:pt>
                <c:pt idx="2265">
                  <c:v>17.534858549980264</c:v>
                </c:pt>
                <c:pt idx="2266">
                  <c:v>15.597818886722225</c:v>
                </c:pt>
                <c:pt idx="2267">
                  <c:v>13.069267275805359</c:v>
                </c:pt>
                <c:pt idx="2268">
                  <c:v>9.6444850538544955</c:v>
                </c:pt>
                <c:pt idx="2269">
                  <c:v>3.0439312149553097</c:v>
                </c:pt>
                <c:pt idx="2270">
                  <c:v>2.9952068989998155</c:v>
                </c:pt>
                <c:pt idx="2271">
                  <c:v>2.8424127682002118</c:v>
                </c:pt>
                <c:pt idx="2272">
                  <c:v>2.9205966954496243</c:v>
                </c:pt>
                <c:pt idx="2273">
                  <c:v>2.9780808446449845</c:v>
                </c:pt>
                <c:pt idx="2274">
                  <c:v>2.9780808446449845</c:v>
                </c:pt>
                <c:pt idx="2275">
                  <c:v>2.9290459786127601</c:v>
                </c:pt>
                <c:pt idx="2276">
                  <c:v>2.9487967544153624</c:v>
                </c:pt>
                <c:pt idx="2277">
                  <c:v>2.9680288749098862</c:v>
                </c:pt>
                <c:pt idx="2278">
                  <c:v>2.7852237368598982</c:v>
                </c:pt>
                <c:pt idx="2279">
                  <c:v>2.7636807041485016</c:v>
                </c:pt>
                <c:pt idx="2280">
                  <c:v>2.7240942816232359</c:v>
                </c:pt>
                <c:pt idx="2281">
                  <c:v>2.7584770077524392</c:v>
                </c:pt>
                <c:pt idx="2282">
                  <c:v>2.944701065951532</c:v>
                </c:pt>
                <c:pt idx="2283">
                  <c:v>2.8976804040711479</c:v>
                </c:pt>
                <c:pt idx="2284">
                  <c:v>2.8367457476449327</c:v>
                </c:pt>
                <c:pt idx="2285">
                  <c:v>2.8276142415206813</c:v>
                </c:pt>
                <c:pt idx="2286">
                  <c:v>2.8397830579274808</c:v>
                </c:pt>
                <c:pt idx="2287">
                  <c:v>2.9300268721061866</c:v>
                </c:pt>
                <c:pt idx="2288">
                  <c:v>2.8326909346122608</c:v>
                </c:pt>
                <c:pt idx="2289">
                  <c:v>2.8326909346122608</c:v>
                </c:pt>
                <c:pt idx="2290">
                  <c:v>2.9243331099467849</c:v>
                </c:pt>
                <c:pt idx="2291">
                  <c:v>3.0141429082351698</c:v>
                </c:pt>
                <c:pt idx="2292">
                  <c:v>3.086678831186775</c:v>
                </c:pt>
                <c:pt idx="2293">
                  <c:v>3.1249827585731271</c:v>
                </c:pt>
                <c:pt idx="2294">
                  <c:v>3.1374636509319975</c:v>
                </c:pt>
                <c:pt idx="2295">
                  <c:v>3.1369140703974456</c:v>
                </c:pt>
                <c:pt idx="2296">
                  <c:v>3.0926312124293056</c:v>
                </c:pt>
                <c:pt idx="2297">
                  <c:v>3.1579128856102807</c:v>
                </c:pt>
                <c:pt idx="2298">
                  <c:v>3.1579128856102807</c:v>
                </c:pt>
                <c:pt idx="2299">
                  <c:v>3.3002960508094583</c:v>
                </c:pt>
                <c:pt idx="2300">
                  <c:v>3.3060376672795586</c:v>
                </c:pt>
                <c:pt idx="2301">
                  <c:v>3.3543589757107144</c:v>
                </c:pt>
                <c:pt idx="2302">
                  <c:v>3.3046466762987556</c:v>
                </c:pt>
                <c:pt idx="2303">
                  <c:v>3.2334459039534131</c:v>
                </c:pt>
                <c:pt idx="2304">
                  <c:v>3.1227750700188177</c:v>
                </c:pt>
                <c:pt idx="2305">
                  <c:v>3.1347147847306935</c:v>
                </c:pt>
                <c:pt idx="2306">
                  <c:v>3.1659103755076714</c:v>
                </c:pt>
                <c:pt idx="2307">
                  <c:v>3.1200132625712813</c:v>
                </c:pt>
                <c:pt idx="2308">
                  <c:v>3.1775071556391383</c:v>
                </c:pt>
                <c:pt idx="2309">
                  <c:v>3.3107279471786693</c:v>
                </c:pt>
                <c:pt idx="2310">
                  <c:v>3.4314301163914385</c:v>
                </c:pt>
                <c:pt idx="2311">
                  <c:v>3.4489711942622217</c:v>
                </c:pt>
                <c:pt idx="2312">
                  <c:v>3.4072269373052992</c:v>
                </c:pt>
                <c:pt idx="2313">
                  <c:v>3.4799920729200249</c:v>
                </c:pt>
                <c:pt idx="2314">
                  <c:v>3.5095927654516199</c:v>
                </c:pt>
                <c:pt idx="2315">
                  <c:v>3.5010671607908082</c:v>
                </c:pt>
                <c:pt idx="2316">
                  <c:v>3.4534673563838996</c:v>
                </c:pt>
                <c:pt idx="2317">
                  <c:v>3.3589817833220921</c:v>
                </c:pt>
                <c:pt idx="2318">
                  <c:v>3.4154819925420936</c:v>
                </c:pt>
                <c:pt idx="2319">
                  <c:v>3.3500729105121168</c:v>
                </c:pt>
                <c:pt idx="2320">
                  <c:v>3.2730175187677988</c:v>
                </c:pt>
                <c:pt idx="2321">
                  <c:v>3.2021903423290978</c:v>
                </c:pt>
                <c:pt idx="2322">
                  <c:v>3.1413080224572094</c:v>
                </c:pt>
                <c:pt idx="2323">
                  <c:v>3.0567430642629319</c:v>
                </c:pt>
                <c:pt idx="2324">
                  <c:v>3.0285993120753774</c:v>
                </c:pt>
                <c:pt idx="2325">
                  <c:v>3.0454412888246849</c:v>
                </c:pt>
                <c:pt idx="2326">
                  <c:v>3.1697202458232199</c:v>
                </c:pt>
                <c:pt idx="2327">
                  <c:v>3.0904004129956482</c:v>
                </c:pt>
                <c:pt idx="2328">
                  <c:v>3.0904004129956486</c:v>
                </c:pt>
                <c:pt idx="2329">
                  <c:v>3.0227109701715444</c:v>
                </c:pt>
                <c:pt idx="2330">
                  <c:v>3.1111590034627907</c:v>
                </c:pt>
                <c:pt idx="2331">
                  <c:v>3.2091822283430154</c:v>
                </c:pt>
                <c:pt idx="2332">
                  <c:v>3.2668660506827409</c:v>
                </c:pt>
                <c:pt idx="2333">
                  <c:v>3.2668660506827409</c:v>
                </c:pt>
                <c:pt idx="2334">
                  <c:v>3.2968114166936187</c:v>
                </c:pt>
                <c:pt idx="2335">
                  <c:v>3.2652823714829387</c:v>
                </c:pt>
                <c:pt idx="2336">
                  <c:v>3.2455097185701547</c:v>
                </c:pt>
                <c:pt idx="2337">
                  <c:v>3.1941037632761269</c:v>
                </c:pt>
                <c:pt idx="2338">
                  <c:v>3.3294229937429645</c:v>
                </c:pt>
                <c:pt idx="2339">
                  <c:v>3.3294229937429645</c:v>
                </c:pt>
                <c:pt idx="2340">
                  <c:v>3.2199093297721948</c:v>
                </c:pt>
                <c:pt idx="2341">
                  <c:v>3.1522661069769158</c:v>
                </c:pt>
                <c:pt idx="2342">
                  <c:v>3.1176177170854444</c:v>
                </c:pt>
                <c:pt idx="2343">
                  <c:v>2.9674479146965291</c:v>
                </c:pt>
                <c:pt idx="2344">
                  <c:v>3.0217601630107271</c:v>
                </c:pt>
                <c:pt idx="2345">
                  <c:v>3.1176177170854444</c:v>
                </c:pt>
                <c:pt idx="2346">
                  <c:v>3.0680032069997774</c:v>
                </c:pt>
                <c:pt idx="2347">
                  <c:v>3.0904004129956486</c:v>
                </c:pt>
                <c:pt idx="2348">
                  <c:v>3.0859339762456242</c:v>
                </c:pt>
                <c:pt idx="2349">
                  <c:v>3.1332477366640425</c:v>
                </c:pt>
                <c:pt idx="2350">
                  <c:v>3.1615506162088525</c:v>
                </c:pt>
                <c:pt idx="2351">
                  <c:v>3.1856358646381677</c:v>
                </c:pt>
                <c:pt idx="2352">
                  <c:v>3.1905031491643427</c:v>
                </c:pt>
                <c:pt idx="2353">
                  <c:v>3.1905031491643427</c:v>
                </c:pt>
                <c:pt idx="2354">
                  <c:v>3.2976829204273361</c:v>
                </c:pt>
                <c:pt idx="2355">
                  <c:v>3.3930286880839842</c:v>
                </c:pt>
                <c:pt idx="2356">
                  <c:v>3.3680377315166079</c:v>
                </c:pt>
                <c:pt idx="2357">
                  <c:v>3.4139672543527864</c:v>
                </c:pt>
                <c:pt idx="2358">
                  <c:v>3.4087446706793778</c:v>
                </c:pt>
                <c:pt idx="2359">
                  <c:v>3.4087446706793778</c:v>
                </c:pt>
                <c:pt idx="2360">
                  <c:v>3.3294229937429645</c:v>
                </c:pt>
                <c:pt idx="2361">
                  <c:v>3.3495582141358669</c:v>
                </c:pt>
                <c:pt idx="2362">
                  <c:v>3.3850584470072551</c:v>
                </c:pt>
                <c:pt idx="2363">
                  <c:v>3.2842361207062636</c:v>
                </c:pt>
                <c:pt idx="2364">
                  <c:v>3.2640500897666613</c:v>
                </c:pt>
                <c:pt idx="2365">
                  <c:v>3.2414343355564275</c:v>
                </c:pt>
                <c:pt idx="2366">
                  <c:v>3.2688006166275065</c:v>
                </c:pt>
                <c:pt idx="2367">
                  <c:v>3.2270409206343009</c:v>
                </c:pt>
                <c:pt idx="2368">
                  <c:v>3.0249916880288579</c:v>
                </c:pt>
                <c:pt idx="2369">
                  <c:v>2.9651229355607671</c:v>
                </c:pt>
                <c:pt idx="2370">
                  <c:v>2.9651229355607667</c:v>
                </c:pt>
                <c:pt idx="2371">
                  <c:v>3.0842573949268433</c:v>
                </c:pt>
                <c:pt idx="2372">
                  <c:v>3.046438605542527</c:v>
                </c:pt>
                <c:pt idx="2373">
                  <c:v>3.0952686201181048</c:v>
                </c:pt>
                <c:pt idx="2374">
                  <c:v>3.0569150044987108</c:v>
                </c:pt>
                <c:pt idx="2375">
                  <c:v>3.0553861646909075</c:v>
                </c:pt>
                <c:pt idx="2376">
                  <c:v>3.1134118476894979</c:v>
                </c:pt>
                <c:pt idx="2377">
                  <c:v>3.1207579904219758</c:v>
                </c:pt>
                <c:pt idx="2378">
                  <c:v>3.1610275009338467</c:v>
                </c:pt>
                <c:pt idx="2379">
                  <c:v>3.1153856431632505</c:v>
                </c:pt>
                <c:pt idx="2380">
                  <c:v>3.0519314727375049</c:v>
                </c:pt>
                <c:pt idx="2381">
                  <c:v>2.87411313552363</c:v>
                </c:pt>
                <c:pt idx="2382">
                  <c:v>2.4920927582635191</c:v>
                </c:pt>
                <c:pt idx="2383">
                  <c:v>2.5546318307829945</c:v>
                </c:pt>
                <c:pt idx="2384">
                  <c:v>2.5796146543051504</c:v>
                </c:pt>
                <c:pt idx="2385">
                  <c:v>2.6004807247891688</c:v>
                </c:pt>
                <c:pt idx="2386">
                  <c:v>2.6672618383439062</c:v>
                </c:pt>
                <c:pt idx="2387">
                  <c:v>2.5901334345533646</c:v>
                </c:pt>
                <c:pt idx="2388">
                  <c:v>2.665063620734804</c:v>
                </c:pt>
                <c:pt idx="2389">
                  <c:v>2.7413776673693677</c:v>
                </c:pt>
                <c:pt idx="2390">
                  <c:v>2.7699688216164584</c:v>
                </c:pt>
                <c:pt idx="2391">
                  <c:v>2.6583202716502514</c:v>
                </c:pt>
                <c:pt idx="2392">
                  <c:v>2.438123139721299</c:v>
                </c:pt>
                <c:pt idx="2393">
                  <c:v>2.5071326821120348</c:v>
                </c:pt>
                <c:pt idx="2394">
                  <c:v>2.5634797778466232</c:v>
                </c:pt>
                <c:pt idx="2395">
                  <c:v>2.8047578623950176</c:v>
                </c:pt>
                <c:pt idx="2396">
                  <c:v>2.5495097567963922</c:v>
                </c:pt>
                <c:pt idx="2397">
                  <c:v>2.6457513110645907</c:v>
                </c:pt>
                <c:pt idx="2398">
                  <c:v>2.5166114784235831</c:v>
                </c:pt>
                <c:pt idx="2399">
                  <c:v>3.5355339059327378</c:v>
                </c:pt>
              </c:numCache>
            </c:numRef>
          </c:val>
          <c:smooth val="0"/>
          <c:extLst>
            <c:ext xmlns:c16="http://schemas.microsoft.com/office/drawing/2014/chart" uri="{C3380CC4-5D6E-409C-BE32-E72D297353CC}">
              <c16:uniqueId val="{00000004-2742-4CD8-8BD8-5E8DF8E79DA1}"/>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I$2:$I$2454</c:f>
              <c:numCache>
                <c:formatCode>#,##0.00</c:formatCode>
                <c:ptCount val="2401"/>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39.145379968391708</c:v>
                </c:pt>
                <c:pt idx="2254">
                  <c:v>39.14246257168228</c:v>
                </c:pt>
                <c:pt idx="2255">
                  <c:v>38.988232976499567</c:v>
                </c:pt>
                <c:pt idx="2256">
                  <c:v>38.737139382149927</c:v>
                </c:pt>
                <c:pt idx="2257">
                  <c:v>38.25119479566991</c:v>
                </c:pt>
                <c:pt idx="2258">
                  <c:v>37.584304699204125</c:v>
                </c:pt>
                <c:pt idx="2259">
                  <c:v>36.766108299400315</c:v>
                </c:pt>
                <c:pt idx="2260">
                  <c:v>35.689118693552054</c:v>
                </c:pt>
                <c:pt idx="2261">
                  <c:v>34.423860144388641</c:v>
                </c:pt>
                <c:pt idx="2262">
                  <c:v>32.937789088420111</c:v>
                </c:pt>
                <c:pt idx="2263">
                  <c:v>31.183718096823657</c:v>
                </c:pt>
                <c:pt idx="2264">
                  <c:v>29.017499749737865</c:v>
                </c:pt>
                <c:pt idx="2265">
                  <c:v>26.447222806683826</c:v>
                </c:pt>
                <c:pt idx="2266">
                  <c:v>23.326793820944431</c:v>
                </c:pt>
                <c:pt idx="2267">
                  <c:v>19.418407592643312</c:v>
                </c:pt>
                <c:pt idx="2268">
                  <c:v>14.055336214728294</c:v>
                </c:pt>
                <c:pt idx="2269">
                  <c:v>2.0259683917536599</c:v>
                </c:pt>
                <c:pt idx="2270">
                  <c:v>2.0097345503467392</c:v>
                </c:pt>
                <c:pt idx="2271">
                  <c:v>2.0194761775118684</c:v>
                </c:pt>
                <c:pt idx="2272">
                  <c:v>2.0481103390351172</c:v>
                </c:pt>
                <c:pt idx="2273">
                  <c:v>2.069453224554215</c:v>
                </c:pt>
                <c:pt idx="2274">
                  <c:v>2.0649891303086703</c:v>
                </c:pt>
                <c:pt idx="2275">
                  <c:v>2.0588857530991413</c:v>
                </c:pt>
                <c:pt idx="2276">
                  <c:v>2.0134485619498066</c:v>
                </c:pt>
                <c:pt idx="2277">
                  <c:v>2.0117561766801071</c:v>
                </c:pt>
                <c:pt idx="2278">
                  <c:v>2.0789567061475585</c:v>
                </c:pt>
                <c:pt idx="2279">
                  <c:v>2.1251863948560281</c:v>
                </c:pt>
                <c:pt idx="2280">
                  <c:v>2.1593447246730668</c:v>
                </c:pt>
                <c:pt idx="2281">
                  <c:v>2.1338420833481608</c:v>
                </c:pt>
                <c:pt idx="2282">
                  <c:v>2.0628413716415293</c:v>
                </c:pt>
                <c:pt idx="2283">
                  <c:v>1.9674740933415074</c:v>
                </c:pt>
                <c:pt idx="2284">
                  <c:v>1.9461120579531812</c:v>
                </c:pt>
                <c:pt idx="2285">
                  <c:v>2.0360707544268686</c:v>
                </c:pt>
                <c:pt idx="2286">
                  <c:v>2.0611143266453253</c:v>
                </c:pt>
                <c:pt idx="2287">
                  <c:v>2.1356317472840676</c:v>
                </c:pt>
                <c:pt idx="2288">
                  <c:v>2.2111027557757743</c:v>
                </c:pt>
                <c:pt idx="2289">
                  <c:v>2.2903454216908434</c:v>
                </c:pt>
                <c:pt idx="2290">
                  <c:v>2.2516185031922142</c:v>
                </c:pt>
                <c:pt idx="2291">
                  <c:v>2.3202673430802498</c:v>
                </c:pt>
                <c:pt idx="2292">
                  <c:v>2.3389889254766514</c:v>
                </c:pt>
                <c:pt idx="2293">
                  <c:v>2.3742970741613685</c:v>
                </c:pt>
                <c:pt idx="2294">
                  <c:v>2.3246782167920022</c:v>
                </c:pt>
                <c:pt idx="2295">
                  <c:v>2.3192583399977038</c:v>
                </c:pt>
                <c:pt idx="2296">
                  <c:v>2.2283819130510873</c:v>
                </c:pt>
                <c:pt idx="2297">
                  <c:v>2.3026691406851865</c:v>
                </c:pt>
                <c:pt idx="2298">
                  <c:v>2.2911429447244114</c:v>
                </c:pt>
                <c:pt idx="2299">
                  <c:v>2.285197637331243</c:v>
                </c:pt>
                <c:pt idx="2300">
                  <c:v>2.3035226883861086</c:v>
                </c:pt>
                <c:pt idx="2301">
                  <c:v>2.3099360797855373</c:v>
                </c:pt>
                <c:pt idx="2302">
                  <c:v>2.3006606078363432</c:v>
                </c:pt>
                <c:pt idx="2303">
                  <c:v>2.2830660556825877</c:v>
                </c:pt>
                <c:pt idx="2304">
                  <c:v>2.2808774241246388</c:v>
                </c:pt>
                <c:pt idx="2305">
                  <c:v>2.2561564339113258</c:v>
                </c:pt>
                <c:pt idx="2306">
                  <c:v>2.2326642355438797</c:v>
                </c:pt>
                <c:pt idx="2307">
                  <c:v>2.3087941951392494</c:v>
                </c:pt>
                <c:pt idx="2308">
                  <c:v>2.2363085006498644</c:v>
                </c:pt>
                <c:pt idx="2309">
                  <c:v>2.1697856995452738</c:v>
                </c:pt>
                <c:pt idx="2310">
                  <c:v>2.1522231751845045</c:v>
                </c:pt>
                <c:pt idx="2311">
                  <c:v>2.1887753932388914</c:v>
                </c:pt>
                <c:pt idx="2312">
                  <c:v>2.1787529844622409</c:v>
                </c:pt>
                <c:pt idx="2313">
                  <c:v>2.1822922682421884</c:v>
                </c:pt>
                <c:pt idx="2314">
                  <c:v>2.2267511811261098</c:v>
                </c:pt>
                <c:pt idx="2315">
                  <c:v>2.1485560176447662</c:v>
                </c:pt>
                <c:pt idx="2316">
                  <c:v>2.1602166454230729</c:v>
                </c:pt>
                <c:pt idx="2317">
                  <c:v>2.0664729008225002</c:v>
                </c:pt>
                <c:pt idx="2318">
                  <c:v>2.1055991164994912</c:v>
                </c:pt>
                <c:pt idx="2319">
                  <c:v>2.1117804348276077</c:v>
                </c:pt>
                <c:pt idx="2320">
                  <c:v>2.1530408001232453</c:v>
                </c:pt>
                <c:pt idx="2321">
                  <c:v>2.1307671644348929</c:v>
                </c:pt>
                <c:pt idx="2322">
                  <c:v>2.1350349143947116</c:v>
                </c:pt>
                <c:pt idx="2323">
                  <c:v>2.0939264040777394</c:v>
                </c:pt>
                <c:pt idx="2324">
                  <c:v>2.1344136145798744</c:v>
                </c:pt>
                <c:pt idx="2325">
                  <c:v>2.1727488270770605</c:v>
                </c:pt>
                <c:pt idx="2326">
                  <c:v>2.1816872130667098</c:v>
                </c:pt>
                <c:pt idx="2327">
                  <c:v>2.17202443129481</c:v>
                </c:pt>
                <c:pt idx="2328">
                  <c:v>2.2470828222878967</c:v>
                </c:pt>
                <c:pt idx="2329">
                  <c:v>2.2775133722186052</c:v>
                </c:pt>
                <c:pt idx="2330">
                  <c:v>2.2432267196390305</c:v>
                </c:pt>
                <c:pt idx="2331">
                  <c:v>2.2321135205226574</c:v>
                </c:pt>
                <c:pt idx="2332">
                  <c:v>2.2271395264373175</c:v>
                </c:pt>
                <c:pt idx="2333">
                  <c:v>2.1969714120989243</c:v>
                </c:pt>
                <c:pt idx="2334">
                  <c:v>2.1734451842275733</c:v>
                </c:pt>
                <c:pt idx="2335">
                  <c:v>2.2338310880443846</c:v>
                </c:pt>
                <c:pt idx="2336">
                  <c:v>2.2308939065550724</c:v>
                </c:pt>
                <c:pt idx="2337">
                  <c:v>2.1167059765417533</c:v>
                </c:pt>
                <c:pt idx="2338">
                  <c:v>2.1523633514302882</c:v>
                </c:pt>
                <c:pt idx="2339">
                  <c:v>2.1373884467009772</c:v>
                </c:pt>
                <c:pt idx="2340">
                  <c:v>2.1537716690480093</c:v>
                </c:pt>
                <c:pt idx="2341">
                  <c:v>2.1282982997015694</c:v>
                </c:pt>
                <c:pt idx="2342">
                  <c:v>2.1251519763042945</c:v>
                </c:pt>
                <c:pt idx="2343">
                  <c:v>2.1204909357699311</c:v>
                </c:pt>
                <c:pt idx="2344">
                  <c:v>2.0777332351866593</c:v>
                </c:pt>
                <c:pt idx="2345">
                  <c:v>2.1877280635364169</c:v>
                </c:pt>
                <c:pt idx="2346">
                  <c:v>2.1599105632209237</c:v>
                </c:pt>
                <c:pt idx="2347">
                  <c:v>2.1408661062757921</c:v>
                </c:pt>
                <c:pt idx="2348">
                  <c:v>2.0787919305613802</c:v>
                </c:pt>
                <c:pt idx="2349">
                  <c:v>2.0976771114253623</c:v>
                </c:pt>
                <c:pt idx="2350">
                  <c:v>2.0588363843511845</c:v>
                </c:pt>
                <c:pt idx="2351">
                  <c:v>2.0781227325122207</c:v>
                </c:pt>
                <c:pt idx="2352">
                  <c:v>2.0283433827887465</c:v>
                </c:pt>
                <c:pt idx="2353">
                  <c:v>2.0053527685716004</c:v>
                </c:pt>
                <c:pt idx="2354">
                  <c:v>1.9649765154764789</c:v>
                </c:pt>
                <c:pt idx="2355">
                  <c:v>1.8938844046353571</c:v>
                </c:pt>
                <c:pt idx="2356">
                  <c:v>1.91704825192012</c:v>
                </c:pt>
                <c:pt idx="2357">
                  <c:v>1.8441943800914116</c:v>
                </c:pt>
                <c:pt idx="2358">
                  <c:v>1.7744244481414408</c:v>
                </c:pt>
                <c:pt idx="2359">
                  <c:v>1.7093358947561843</c:v>
                </c:pt>
                <c:pt idx="2360">
                  <c:v>1.7504482727304138</c:v>
                </c:pt>
                <c:pt idx="2361">
                  <c:v>1.7704218323396297</c:v>
                </c:pt>
                <c:pt idx="2362">
                  <c:v>1.6884168327634392</c:v>
                </c:pt>
                <c:pt idx="2363">
                  <c:v>1.6943988213585428</c:v>
                </c:pt>
                <c:pt idx="2364">
                  <c:v>1.6962376014491489</c:v>
                </c:pt>
                <c:pt idx="2365">
                  <c:v>1.6270352943774158</c:v>
                </c:pt>
                <c:pt idx="2366">
                  <c:v>1.6477496593441943</c:v>
                </c:pt>
                <c:pt idx="2367">
                  <c:v>1.5657744610166304</c:v>
                </c:pt>
                <c:pt idx="2368">
                  <c:v>1.5536656905492674</c:v>
                </c:pt>
                <c:pt idx="2369">
                  <c:v>1.5761074685887018</c:v>
                </c:pt>
                <c:pt idx="2370">
                  <c:v>1.5601556603206332</c:v>
                </c:pt>
                <c:pt idx="2371">
                  <c:v>1.5479340856458721</c:v>
                </c:pt>
                <c:pt idx="2372">
                  <c:v>1.5657158190862328</c:v>
                </c:pt>
                <c:pt idx="2373">
                  <c:v>1.5691458581141864</c:v>
                </c:pt>
                <c:pt idx="2374">
                  <c:v>1.5963987868546208</c:v>
                </c:pt>
                <c:pt idx="2375">
                  <c:v>1.5179745262778566</c:v>
                </c:pt>
                <c:pt idx="2376">
                  <c:v>1.5428944928211921</c:v>
                </c:pt>
                <c:pt idx="2377">
                  <c:v>1.5753483303572955</c:v>
                </c:pt>
                <c:pt idx="2378">
                  <c:v>1.5690940026925095</c:v>
                </c:pt>
                <c:pt idx="2379">
                  <c:v>1.4505740746851299</c:v>
                </c:pt>
                <c:pt idx="2380">
                  <c:v>1.4851938815524623</c:v>
                </c:pt>
                <c:pt idx="2381">
                  <c:v>1.3743727265463883</c:v>
                </c:pt>
                <c:pt idx="2382">
                  <c:v>1.4113961353195745</c:v>
                </c:pt>
                <c:pt idx="2383">
                  <c:v>1.4482920388682989</c:v>
                </c:pt>
                <c:pt idx="2384">
                  <c:v>1.4928601750290116</c:v>
                </c:pt>
                <c:pt idx="2385">
                  <c:v>1.4830683516066234</c:v>
                </c:pt>
                <c:pt idx="2386">
                  <c:v>1.4129919467700967</c:v>
                </c:pt>
                <c:pt idx="2387">
                  <c:v>1.447789003242937</c:v>
                </c:pt>
                <c:pt idx="2388">
                  <c:v>1.388004493447049</c:v>
                </c:pt>
                <c:pt idx="2389">
                  <c:v>1.4491731020445606</c:v>
                </c:pt>
                <c:pt idx="2390">
                  <c:v>1.3845297449226237</c:v>
                </c:pt>
                <c:pt idx="2391">
                  <c:v>1.239947272198648</c:v>
                </c:pt>
                <c:pt idx="2392">
                  <c:v>1.3147604501666101</c:v>
                </c:pt>
                <c:pt idx="2393">
                  <c:v>1.3891806593702467</c:v>
                </c:pt>
                <c:pt idx="2394">
                  <c:v>1.4974621059500599</c:v>
                </c:pt>
                <c:pt idx="2395">
                  <c:v>1.6321325771245687</c:v>
                </c:pt>
                <c:pt idx="2396">
                  <c:v>1.4966298227839341</c:v>
                </c:pt>
                <c:pt idx="2397">
                  <c:v>1.6961713490031158</c:v>
                </c:pt>
                <c:pt idx="2398">
                  <c:v>2.0003580946638095</c:v>
                </c:pt>
                <c:pt idx="2399">
                  <c:v>1.1699403106904707</c:v>
                </c:pt>
              </c:numCache>
            </c:numRef>
          </c:val>
          <c:smooth val="0"/>
          <c:extLst>
            <c:ext xmlns:c16="http://schemas.microsoft.com/office/drawing/2014/chart" uri="{C3380CC4-5D6E-409C-BE32-E72D297353CC}">
              <c16:uniqueId val="{00000005-2742-4CD8-8BD8-5E8DF8E79DA1}"/>
            </c:ext>
          </c:extLst>
        </c:ser>
        <c:dLbls>
          <c:showLegendKey val="0"/>
          <c:showVal val="0"/>
          <c:showCatName val="0"/>
          <c:showSerName val="0"/>
          <c:showPercent val="0"/>
          <c:showBubbleSize val="0"/>
        </c:dLbls>
        <c:marker val="1"/>
        <c:smooth val="0"/>
        <c:axId val="1604011696"/>
        <c:axId val="1604030896"/>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H$2:$H$2454</c:f>
              <c:numCache>
                <c:formatCode>#,##0.00</c:formatCode>
                <c:ptCount val="2401"/>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1.7437245299630888</c:v>
                </c:pt>
                <c:pt idx="2254">
                  <c:v>1.7545669162007229</c:v>
                </c:pt>
                <c:pt idx="2255">
                  <c:v>1.7775605909113272</c:v>
                </c:pt>
                <c:pt idx="2256">
                  <c:v>1.7633967479526151</c:v>
                </c:pt>
                <c:pt idx="2257">
                  <c:v>1.7489823028509832</c:v>
                </c:pt>
                <c:pt idx="2258">
                  <c:v>1.7246657228172451</c:v>
                </c:pt>
                <c:pt idx="2259">
                  <c:v>1.6894332540018182</c:v>
                </c:pt>
                <c:pt idx="2260">
                  <c:v>1.6461147938458229</c:v>
                </c:pt>
                <c:pt idx="2261">
                  <c:v>1.5886982773724874</c:v>
                </c:pt>
                <c:pt idx="2262">
                  <c:v>1.5153334424663523</c:v>
                </c:pt>
                <c:pt idx="2263">
                  <c:v>1.4351875014447313</c:v>
                </c:pt>
                <c:pt idx="2264">
                  <c:v>1.3426010017550052</c:v>
                </c:pt>
                <c:pt idx="2265">
                  <c:v>1.2309104907294715</c:v>
                </c:pt>
                <c:pt idx="2266">
                  <c:v>1.1091619456351949</c:v>
                </c:pt>
                <c:pt idx="2267">
                  <c:v>0.9360608606056251</c:v>
                </c:pt>
                <c:pt idx="2268">
                  <c:v>0.71224113594434191</c:v>
                </c:pt>
                <c:pt idx="2269">
                  <c:v>0.3167671286371993</c:v>
                </c:pt>
                <c:pt idx="2270">
                  <c:v>0.31685548667680796</c:v>
                </c:pt>
                <c:pt idx="2271">
                  <c:v>0.30659147893713395</c:v>
                </c:pt>
                <c:pt idx="2272">
                  <c:v>0.29863770554012276</c:v>
                </c:pt>
                <c:pt idx="2273">
                  <c:v>0.30007917965723857</c:v>
                </c:pt>
                <c:pt idx="2274">
                  <c:v>0.29653518660544603</c:v>
                </c:pt>
                <c:pt idx="2275">
                  <c:v>0.29026536493382077</c:v>
                </c:pt>
                <c:pt idx="2276">
                  <c:v>0.29170660583374869</c:v>
                </c:pt>
                <c:pt idx="2277">
                  <c:v>0.28128788004275179</c:v>
                </c:pt>
                <c:pt idx="2278">
                  <c:v>0.27989599789014874</c:v>
                </c:pt>
                <c:pt idx="2279">
                  <c:v>0.27699714093391176</c:v>
                </c:pt>
                <c:pt idx="2280">
                  <c:v>0.27512465803108088</c:v>
                </c:pt>
                <c:pt idx="2281">
                  <c:v>0.29005301556680724</c:v>
                </c:pt>
                <c:pt idx="2282">
                  <c:v>0.28082353105276686</c:v>
                </c:pt>
                <c:pt idx="2283">
                  <c:v>0.28498973288893503</c:v>
                </c:pt>
                <c:pt idx="2284">
                  <c:v>0.30215305486015359</c:v>
                </c:pt>
                <c:pt idx="2285">
                  <c:v>0.28770053868799789</c:v>
                </c:pt>
                <c:pt idx="2286">
                  <c:v>0.30527853305532193</c:v>
                </c:pt>
                <c:pt idx="2287">
                  <c:v>0.30164171824491548</c:v>
                </c:pt>
                <c:pt idx="2288">
                  <c:v>0.30444676281256894</c:v>
                </c:pt>
                <c:pt idx="2289">
                  <c:v>0.31358329777929655</c:v>
                </c:pt>
                <c:pt idx="2290">
                  <c:v>0.32835895906511986</c:v>
                </c:pt>
                <c:pt idx="2291">
                  <c:v>0.3280836399308647</c:v>
                </c:pt>
                <c:pt idx="2292">
                  <c:v>0.32456532440505925</c:v>
                </c:pt>
                <c:pt idx="2293">
                  <c:v>0.32581088080790654</c:v>
                </c:pt>
                <c:pt idx="2294">
                  <c:v>0.32703895120895526</c:v>
                </c:pt>
                <c:pt idx="2295">
                  <c:v>0.32491624768944255</c:v>
                </c:pt>
                <c:pt idx="2296">
                  <c:v>0.28273201352862387</c:v>
                </c:pt>
                <c:pt idx="2297">
                  <c:v>0.30232690375297733</c:v>
                </c:pt>
                <c:pt idx="2298">
                  <c:v>0.28134741881608444</c:v>
                </c:pt>
                <c:pt idx="2299">
                  <c:v>0.3024427112612797</c:v>
                </c:pt>
                <c:pt idx="2300">
                  <c:v>0.30625579179545642</c:v>
                </c:pt>
                <c:pt idx="2301">
                  <c:v>0.30876944335216383</c:v>
                </c:pt>
                <c:pt idx="2302">
                  <c:v>0.31411411693703839</c:v>
                </c:pt>
                <c:pt idx="2303">
                  <c:v>0.31760082352486407</c:v>
                </c:pt>
                <c:pt idx="2304">
                  <c:v>0.315989622849078</c:v>
                </c:pt>
                <c:pt idx="2305">
                  <c:v>0.33084958042243501</c:v>
                </c:pt>
                <c:pt idx="2306">
                  <c:v>0.34234578375031072</c:v>
                </c:pt>
                <c:pt idx="2307">
                  <c:v>0.3477306532972218</c:v>
                </c:pt>
                <c:pt idx="2308">
                  <c:v>0.35178141514451094</c:v>
                </c:pt>
                <c:pt idx="2309">
                  <c:v>0.36648625382157357</c:v>
                </c:pt>
                <c:pt idx="2310">
                  <c:v>0.38111553869611986</c:v>
                </c:pt>
                <c:pt idx="2311">
                  <c:v>0.37603250008949868</c:v>
                </c:pt>
                <c:pt idx="2312">
                  <c:v>0.38972250289960125</c:v>
                </c:pt>
                <c:pt idx="2313">
                  <c:v>0.38555757159607568</c:v>
                </c:pt>
                <c:pt idx="2314">
                  <c:v>0.37845843728563833</c:v>
                </c:pt>
                <c:pt idx="2315">
                  <c:v>0.37129868047391568</c:v>
                </c:pt>
                <c:pt idx="2316">
                  <c:v>0.36219057403784372</c:v>
                </c:pt>
                <c:pt idx="2317">
                  <c:v>0.37745862956819576</c:v>
                </c:pt>
                <c:pt idx="2318">
                  <c:v>0.373787502218139</c:v>
                </c:pt>
                <c:pt idx="2319">
                  <c:v>0.36924075520263416</c:v>
                </c:pt>
                <c:pt idx="2320">
                  <c:v>0.34854728964830817</c:v>
                </c:pt>
                <c:pt idx="2321">
                  <c:v>0.34947742521576797</c:v>
                </c:pt>
                <c:pt idx="2322">
                  <c:v>0.34660195589671233</c:v>
                </c:pt>
                <c:pt idx="2323">
                  <c:v>0.34241070661918305</c:v>
                </c:pt>
                <c:pt idx="2324">
                  <c:v>0.35140868685045484</c:v>
                </c:pt>
                <c:pt idx="2325">
                  <c:v>0.36686615843443793</c:v>
                </c:pt>
                <c:pt idx="2326">
                  <c:v>0.36485867285014573</c:v>
                </c:pt>
                <c:pt idx="2327">
                  <c:v>0.36347909940477985</c:v>
                </c:pt>
                <c:pt idx="2328">
                  <c:v>0.37113746450722468</c:v>
                </c:pt>
                <c:pt idx="2329">
                  <c:v>0.3619560904444038</c:v>
                </c:pt>
                <c:pt idx="2330">
                  <c:v>0.36576077613246105</c:v>
                </c:pt>
                <c:pt idx="2331">
                  <c:v>0.36088383843527927</c:v>
                </c:pt>
                <c:pt idx="2332">
                  <c:v>0.35538419193728071</c:v>
                </c:pt>
                <c:pt idx="2333">
                  <c:v>0.35517762668510194</c:v>
                </c:pt>
                <c:pt idx="2334">
                  <c:v>0.3603590888073932</c:v>
                </c:pt>
                <c:pt idx="2335">
                  <c:v>0.36009028907570367</c:v>
                </c:pt>
                <c:pt idx="2336">
                  <c:v>0.36624395679194188</c:v>
                </c:pt>
                <c:pt idx="2337">
                  <c:v>0.36528227908941857</c:v>
                </c:pt>
                <c:pt idx="2338">
                  <c:v>0.37440012472075546</c:v>
                </c:pt>
                <c:pt idx="2339">
                  <c:v>0.35915406556169527</c:v>
                </c:pt>
                <c:pt idx="2340">
                  <c:v>0.35393983050995309</c:v>
                </c:pt>
                <c:pt idx="2341">
                  <c:v>0.35026848317337789</c:v>
                </c:pt>
                <c:pt idx="2342">
                  <c:v>0.33461590515161405</c:v>
                </c:pt>
                <c:pt idx="2343">
                  <c:v>0.33221740682324385</c:v>
                </c:pt>
                <c:pt idx="2344">
                  <c:v>0.33187875601537858</c:v>
                </c:pt>
                <c:pt idx="2345">
                  <c:v>0.33638949139113655</c:v>
                </c:pt>
                <c:pt idx="2346">
                  <c:v>0.33921315250470407</c:v>
                </c:pt>
                <c:pt idx="2347">
                  <c:v>0.32461732282841488</c:v>
                </c:pt>
                <c:pt idx="2348">
                  <c:v>0.32813453729041542</c:v>
                </c:pt>
                <c:pt idx="2349">
                  <c:v>0.34371410740691655</c:v>
                </c:pt>
                <c:pt idx="2350">
                  <c:v>0.34898683068946923</c:v>
                </c:pt>
                <c:pt idx="2351">
                  <c:v>0.35019244721459003</c:v>
                </c:pt>
                <c:pt idx="2352">
                  <c:v>0.35074763732711456</c:v>
                </c:pt>
                <c:pt idx="2353">
                  <c:v>0.3554661253230309</c:v>
                </c:pt>
                <c:pt idx="2354">
                  <c:v>0.34762310187416678</c:v>
                </c:pt>
                <c:pt idx="2355">
                  <c:v>0.33802553476298058</c:v>
                </c:pt>
                <c:pt idx="2356">
                  <c:v>0.35239800480610856</c:v>
                </c:pt>
                <c:pt idx="2357">
                  <c:v>0.35510119005462731</c:v>
                </c:pt>
                <c:pt idx="2358">
                  <c:v>0.34315744060422015</c:v>
                </c:pt>
                <c:pt idx="2359">
                  <c:v>0.33727447254735343</c:v>
                </c:pt>
                <c:pt idx="2360">
                  <c:v>0.34217752688971531</c:v>
                </c:pt>
                <c:pt idx="2361">
                  <c:v>0.35146448687850418</c:v>
                </c:pt>
                <c:pt idx="2362">
                  <c:v>0.35838628176279497</c:v>
                </c:pt>
                <c:pt idx="2363">
                  <c:v>0.35382247688638691</c:v>
                </c:pt>
                <c:pt idx="2364">
                  <c:v>0.3671633690605558</c:v>
                </c:pt>
                <c:pt idx="2365">
                  <c:v>0.361391941389824</c:v>
                </c:pt>
                <c:pt idx="2366">
                  <c:v>0.35165118764739589</c:v>
                </c:pt>
                <c:pt idx="2367">
                  <c:v>0.35502491185489399</c:v>
                </c:pt>
                <c:pt idx="2368">
                  <c:v>0.35279905328932798</c:v>
                </c:pt>
                <c:pt idx="2369">
                  <c:v>0.35796460629394217</c:v>
                </c:pt>
                <c:pt idx="2370">
                  <c:v>0.35517809169724374</c:v>
                </c:pt>
                <c:pt idx="2371">
                  <c:v>0.35641592364230479</c:v>
                </c:pt>
                <c:pt idx="2372">
                  <c:v>0.3581470816785704</c:v>
                </c:pt>
                <c:pt idx="2373">
                  <c:v>0.36455734896454123</c:v>
                </c:pt>
                <c:pt idx="2374">
                  <c:v>0.37026574624205078</c:v>
                </c:pt>
                <c:pt idx="2375">
                  <c:v>0.37330491307347341</c:v>
                </c:pt>
                <c:pt idx="2376">
                  <c:v>0.37193705557470652</c:v>
                </c:pt>
                <c:pt idx="2377">
                  <c:v>0.37928679184797315</c:v>
                </c:pt>
                <c:pt idx="2378">
                  <c:v>0.38304974351334486</c:v>
                </c:pt>
                <c:pt idx="2379">
                  <c:v>0.36415728991004492</c:v>
                </c:pt>
                <c:pt idx="2380">
                  <c:v>0.36764776721847514</c:v>
                </c:pt>
                <c:pt idx="2381">
                  <c:v>0.37493002347943072</c:v>
                </c:pt>
                <c:pt idx="2382">
                  <c:v>0.38417526297846816</c:v>
                </c:pt>
                <c:pt idx="2383">
                  <c:v>0.38698587970354403</c:v>
                </c:pt>
                <c:pt idx="2384">
                  <c:v>0.39178996255448051</c:v>
                </c:pt>
                <c:pt idx="2385">
                  <c:v>0.39732475868288047</c:v>
                </c:pt>
                <c:pt idx="2386">
                  <c:v>0.38357211426890025</c:v>
                </c:pt>
                <c:pt idx="2387">
                  <c:v>0.36719008983809864</c:v>
                </c:pt>
                <c:pt idx="2388">
                  <c:v>0.37774482267167819</c:v>
                </c:pt>
                <c:pt idx="2389">
                  <c:v>0.39273852437848894</c:v>
                </c:pt>
                <c:pt idx="2390">
                  <c:v>0.40234798684861989</c:v>
                </c:pt>
                <c:pt idx="2391">
                  <c:v>0.40767733828021957</c:v>
                </c:pt>
                <c:pt idx="2392">
                  <c:v>0.40268861611841072</c:v>
                </c:pt>
                <c:pt idx="2393">
                  <c:v>0.4301902146897556</c:v>
                </c:pt>
                <c:pt idx="2394">
                  <c:v>0.38077725600392393</c:v>
                </c:pt>
                <c:pt idx="2395">
                  <c:v>0.4160377652396729</c:v>
                </c:pt>
                <c:pt idx="2396">
                  <c:v>0.43143469780528171</c:v>
                </c:pt>
                <c:pt idx="2397">
                  <c:v>0.4664874378896674</c:v>
                </c:pt>
                <c:pt idx="2398">
                  <c:v>0.11425663148166298</c:v>
                </c:pt>
                <c:pt idx="2399">
                  <c:v>0.14554120915130589</c:v>
                </c:pt>
              </c:numCache>
            </c:numRef>
          </c:val>
          <c:smooth val="0"/>
          <c:extLst>
            <c:ext xmlns:c16="http://schemas.microsoft.com/office/drawing/2014/chart" uri="{C3380CC4-5D6E-409C-BE32-E72D297353CC}">
              <c16:uniqueId val="{00000006-2742-4CD8-8BD8-5E8DF8E79DA1}"/>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yy\ h:mm</c:formatCode>
                <c:ptCount val="2400"/>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600694444445</c:v>
                </c:pt>
                <c:pt idx="2254">
                  <c:v>41983.601388888892</c:v>
                </c:pt>
                <c:pt idx="2255">
                  <c:v>41983.602083333331</c:v>
                </c:pt>
                <c:pt idx="2256">
                  <c:v>41983.602777777778</c:v>
                </c:pt>
                <c:pt idx="2257">
                  <c:v>41983.603472222225</c:v>
                </c:pt>
                <c:pt idx="2258">
                  <c:v>41983.604166666664</c:v>
                </c:pt>
                <c:pt idx="2259">
                  <c:v>41983.604861111111</c:v>
                </c:pt>
                <c:pt idx="2260">
                  <c:v>41983.605555555558</c:v>
                </c:pt>
                <c:pt idx="2261">
                  <c:v>41983.606249999997</c:v>
                </c:pt>
                <c:pt idx="2262">
                  <c:v>41983.606944444444</c:v>
                </c:pt>
                <c:pt idx="2263">
                  <c:v>41983.607638888891</c:v>
                </c:pt>
                <c:pt idx="2264">
                  <c:v>41983.60833333333</c:v>
                </c:pt>
                <c:pt idx="2265">
                  <c:v>41983.609027777777</c:v>
                </c:pt>
                <c:pt idx="2266">
                  <c:v>41983.609722222223</c:v>
                </c:pt>
                <c:pt idx="2267">
                  <c:v>41983.61041666667</c:v>
                </c:pt>
                <c:pt idx="2268">
                  <c:v>41983.611111111109</c:v>
                </c:pt>
                <c:pt idx="2269">
                  <c:v>41983.611805555556</c:v>
                </c:pt>
                <c:pt idx="2270">
                  <c:v>41983.612500000003</c:v>
                </c:pt>
                <c:pt idx="2271">
                  <c:v>41983.613194444442</c:v>
                </c:pt>
                <c:pt idx="2272">
                  <c:v>41983.613888888889</c:v>
                </c:pt>
                <c:pt idx="2273">
                  <c:v>41983.614583333336</c:v>
                </c:pt>
                <c:pt idx="2274">
                  <c:v>41983.615277777775</c:v>
                </c:pt>
                <c:pt idx="2275">
                  <c:v>41983.615972222222</c:v>
                </c:pt>
                <c:pt idx="2276">
                  <c:v>41983.616666666669</c:v>
                </c:pt>
                <c:pt idx="2277">
                  <c:v>41983.617361111108</c:v>
                </c:pt>
                <c:pt idx="2278">
                  <c:v>41983.618055555555</c:v>
                </c:pt>
                <c:pt idx="2279">
                  <c:v>41983.618750000001</c:v>
                </c:pt>
                <c:pt idx="2280">
                  <c:v>41983.619444444441</c:v>
                </c:pt>
                <c:pt idx="2281">
                  <c:v>41983.620138888888</c:v>
                </c:pt>
                <c:pt idx="2282">
                  <c:v>41983.620833333334</c:v>
                </c:pt>
                <c:pt idx="2283">
                  <c:v>41983.621527777781</c:v>
                </c:pt>
                <c:pt idx="2284">
                  <c:v>41983.62222222222</c:v>
                </c:pt>
                <c:pt idx="2285">
                  <c:v>41983.622916666667</c:v>
                </c:pt>
                <c:pt idx="2286">
                  <c:v>41983.623611111114</c:v>
                </c:pt>
                <c:pt idx="2287">
                  <c:v>41983.624305555553</c:v>
                </c:pt>
                <c:pt idx="2288">
                  <c:v>41983.625</c:v>
                </c:pt>
                <c:pt idx="2289">
                  <c:v>41983.625694444447</c:v>
                </c:pt>
                <c:pt idx="2290">
                  <c:v>41983.626388888886</c:v>
                </c:pt>
                <c:pt idx="2291">
                  <c:v>41983.627083333333</c:v>
                </c:pt>
                <c:pt idx="2292">
                  <c:v>41983.62777777778</c:v>
                </c:pt>
                <c:pt idx="2293">
                  <c:v>41983.628472222219</c:v>
                </c:pt>
                <c:pt idx="2294">
                  <c:v>41983.629166666666</c:v>
                </c:pt>
                <c:pt idx="2295">
                  <c:v>41983.629861111112</c:v>
                </c:pt>
                <c:pt idx="2296">
                  <c:v>41983.630555555559</c:v>
                </c:pt>
                <c:pt idx="2297">
                  <c:v>41983.631249999999</c:v>
                </c:pt>
                <c:pt idx="2298">
                  <c:v>41983.631944444445</c:v>
                </c:pt>
                <c:pt idx="2299">
                  <c:v>41983.632638888892</c:v>
                </c:pt>
                <c:pt idx="2300">
                  <c:v>41983.633333333331</c:v>
                </c:pt>
                <c:pt idx="2301">
                  <c:v>41983.634027777778</c:v>
                </c:pt>
                <c:pt idx="2302">
                  <c:v>41983.634722222225</c:v>
                </c:pt>
                <c:pt idx="2303">
                  <c:v>41983.635416666664</c:v>
                </c:pt>
                <c:pt idx="2304">
                  <c:v>41983.636111111111</c:v>
                </c:pt>
                <c:pt idx="2305">
                  <c:v>41983.636805555558</c:v>
                </c:pt>
                <c:pt idx="2306">
                  <c:v>41983.637499999997</c:v>
                </c:pt>
                <c:pt idx="2307">
                  <c:v>41983.638194444444</c:v>
                </c:pt>
                <c:pt idx="2308">
                  <c:v>41983.638888888891</c:v>
                </c:pt>
                <c:pt idx="2309">
                  <c:v>41983.63958333333</c:v>
                </c:pt>
                <c:pt idx="2310">
                  <c:v>41983.640277777777</c:v>
                </c:pt>
                <c:pt idx="2311">
                  <c:v>41983.640972222223</c:v>
                </c:pt>
                <c:pt idx="2312">
                  <c:v>41983.64166666667</c:v>
                </c:pt>
                <c:pt idx="2313">
                  <c:v>41983.642361111109</c:v>
                </c:pt>
                <c:pt idx="2314">
                  <c:v>41983.643055555556</c:v>
                </c:pt>
                <c:pt idx="2315">
                  <c:v>41983.643750000003</c:v>
                </c:pt>
                <c:pt idx="2316">
                  <c:v>41983.644444444442</c:v>
                </c:pt>
                <c:pt idx="2317">
                  <c:v>41983.645138888889</c:v>
                </c:pt>
                <c:pt idx="2318">
                  <c:v>41983.645833333336</c:v>
                </c:pt>
                <c:pt idx="2319">
                  <c:v>41983.646527777775</c:v>
                </c:pt>
                <c:pt idx="2320">
                  <c:v>41983.647222222222</c:v>
                </c:pt>
                <c:pt idx="2321">
                  <c:v>41983.647916666669</c:v>
                </c:pt>
                <c:pt idx="2322">
                  <c:v>41983.648611111108</c:v>
                </c:pt>
                <c:pt idx="2323">
                  <c:v>41983.649305555555</c:v>
                </c:pt>
                <c:pt idx="2324">
                  <c:v>41983.65</c:v>
                </c:pt>
                <c:pt idx="2325">
                  <c:v>41983.650694444441</c:v>
                </c:pt>
                <c:pt idx="2326">
                  <c:v>41983.651388888888</c:v>
                </c:pt>
                <c:pt idx="2327">
                  <c:v>41983.652083333334</c:v>
                </c:pt>
                <c:pt idx="2328">
                  <c:v>41983.652777777781</c:v>
                </c:pt>
                <c:pt idx="2329">
                  <c:v>41983.65347222222</c:v>
                </c:pt>
                <c:pt idx="2330">
                  <c:v>41983.654166666667</c:v>
                </c:pt>
                <c:pt idx="2331">
                  <c:v>41983.654861111114</c:v>
                </c:pt>
                <c:pt idx="2332">
                  <c:v>41983.655555555553</c:v>
                </c:pt>
                <c:pt idx="2333">
                  <c:v>41983.65625</c:v>
                </c:pt>
                <c:pt idx="2334">
                  <c:v>41983.656944444447</c:v>
                </c:pt>
                <c:pt idx="2335">
                  <c:v>41983.657638888886</c:v>
                </c:pt>
                <c:pt idx="2336">
                  <c:v>41983.658333333333</c:v>
                </c:pt>
                <c:pt idx="2337">
                  <c:v>41983.65902777778</c:v>
                </c:pt>
                <c:pt idx="2338">
                  <c:v>41983.659722222219</c:v>
                </c:pt>
                <c:pt idx="2339">
                  <c:v>41983.660416666666</c:v>
                </c:pt>
                <c:pt idx="2340">
                  <c:v>41983.661111111112</c:v>
                </c:pt>
                <c:pt idx="2341">
                  <c:v>41983.661805555559</c:v>
                </c:pt>
                <c:pt idx="2342">
                  <c:v>41983.662499999999</c:v>
                </c:pt>
                <c:pt idx="2343">
                  <c:v>41983.663194444445</c:v>
                </c:pt>
                <c:pt idx="2344">
                  <c:v>41983.663888888892</c:v>
                </c:pt>
                <c:pt idx="2345">
                  <c:v>41983.664583333331</c:v>
                </c:pt>
                <c:pt idx="2346">
                  <c:v>41983.665277777778</c:v>
                </c:pt>
                <c:pt idx="2347">
                  <c:v>41983.665972222225</c:v>
                </c:pt>
                <c:pt idx="2348">
                  <c:v>41983.666666666664</c:v>
                </c:pt>
                <c:pt idx="2349">
                  <c:v>41983.667361111111</c:v>
                </c:pt>
                <c:pt idx="2350">
                  <c:v>41983.668055555558</c:v>
                </c:pt>
                <c:pt idx="2351">
                  <c:v>41983.668749999997</c:v>
                </c:pt>
                <c:pt idx="2352">
                  <c:v>41983.669444444444</c:v>
                </c:pt>
                <c:pt idx="2353">
                  <c:v>41983.670138888891</c:v>
                </c:pt>
                <c:pt idx="2354">
                  <c:v>41983.67083333333</c:v>
                </c:pt>
                <c:pt idx="2355">
                  <c:v>41983.671527777777</c:v>
                </c:pt>
                <c:pt idx="2356">
                  <c:v>41983.672222222223</c:v>
                </c:pt>
                <c:pt idx="2357">
                  <c:v>41983.67291666667</c:v>
                </c:pt>
                <c:pt idx="2358">
                  <c:v>41983.673611111109</c:v>
                </c:pt>
                <c:pt idx="2359">
                  <c:v>41983.674305555556</c:v>
                </c:pt>
                <c:pt idx="2360">
                  <c:v>41983.675000000003</c:v>
                </c:pt>
                <c:pt idx="2361">
                  <c:v>41983.675694444442</c:v>
                </c:pt>
                <c:pt idx="2362">
                  <c:v>41983.676388888889</c:v>
                </c:pt>
                <c:pt idx="2363">
                  <c:v>41983.677083333336</c:v>
                </c:pt>
                <c:pt idx="2364">
                  <c:v>41983.677777777775</c:v>
                </c:pt>
                <c:pt idx="2365">
                  <c:v>41983.678472222222</c:v>
                </c:pt>
                <c:pt idx="2366">
                  <c:v>41983.679166666669</c:v>
                </c:pt>
                <c:pt idx="2367">
                  <c:v>41983.679861111108</c:v>
                </c:pt>
                <c:pt idx="2368">
                  <c:v>41983.680555555555</c:v>
                </c:pt>
                <c:pt idx="2369">
                  <c:v>41983.681250000001</c:v>
                </c:pt>
                <c:pt idx="2370">
                  <c:v>41983.681944444441</c:v>
                </c:pt>
                <c:pt idx="2371">
                  <c:v>41983.682638888888</c:v>
                </c:pt>
                <c:pt idx="2372">
                  <c:v>41983.683333333334</c:v>
                </c:pt>
                <c:pt idx="2373">
                  <c:v>41983.684027777781</c:v>
                </c:pt>
                <c:pt idx="2374">
                  <c:v>41983.68472222222</c:v>
                </c:pt>
                <c:pt idx="2375">
                  <c:v>41983.685416666667</c:v>
                </c:pt>
                <c:pt idx="2376">
                  <c:v>41983.686111111114</c:v>
                </c:pt>
                <c:pt idx="2377">
                  <c:v>41983.686805555553</c:v>
                </c:pt>
                <c:pt idx="2378">
                  <c:v>41983.6875</c:v>
                </c:pt>
                <c:pt idx="2379">
                  <c:v>41983.688194444447</c:v>
                </c:pt>
                <c:pt idx="2380">
                  <c:v>41983.688888888886</c:v>
                </c:pt>
                <c:pt idx="2381">
                  <c:v>41983.689583333333</c:v>
                </c:pt>
                <c:pt idx="2382">
                  <c:v>41983.69027777778</c:v>
                </c:pt>
                <c:pt idx="2383">
                  <c:v>41983.690972222219</c:v>
                </c:pt>
                <c:pt idx="2384">
                  <c:v>41983.691666666666</c:v>
                </c:pt>
                <c:pt idx="2385">
                  <c:v>41983.692361111112</c:v>
                </c:pt>
                <c:pt idx="2386">
                  <c:v>41983.693055555559</c:v>
                </c:pt>
                <c:pt idx="2387">
                  <c:v>41983.693749999999</c:v>
                </c:pt>
                <c:pt idx="2388">
                  <c:v>41983.694444444445</c:v>
                </c:pt>
                <c:pt idx="2389">
                  <c:v>41983.695138888892</c:v>
                </c:pt>
                <c:pt idx="2390">
                  <c:v>41983.695833333331</c:v>
                </c:pt>
                <c:pt idx="2391">
                  <c:v>41983.696527777778</c:v>
                </c:pt>
                <c:pt idx="2392">
                  <c:v>41983.697222222225</c:v>
                </c:pt>
                <c:pt idx="2393">
                  <c:v>41983.697916666664</c:v>
                </c:pt>
                <c:pt idx="2394">
                  <c:v>41983.698611111111</c:v>
                </c:pt>
                <c:pt idx="2395">
                  <c:v>41983.699305555558</c:v>
                </c:pt>
                <c:pt idx="2396">
                  <c:v>41983.7</c:v>
                </c:pt>
                <c:pt idx="2397">
                  <c:v>41983.700694444444</c:v>
                </c:pt>
                <c:pt idx="2398">
                  <c:v>41983.701388888891</c:v>
                </c:pt>
                <c:pt idx="2399">
                  <c:v>41983.70208333333</c:v>
                </c:pt>
              </c:numCache>
            </c:numRef>
          </c:cat>
          <c:val>
            <c:numRef>
              <c:f>'DRT Rolling Stdev'!$J$2:$J$2454</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numCache>
            </c:numRef>
          </c:val>
          <c:smooth val="0"/>
          <c:extLst>
            <c:ext xmlns:c16="http://schemas.microsoft.com/office/drawing/2014/chart" uri="{C3380CC4-5D6E-409C-BE32-E72D297353CC}">
              <c16:uniqueId val="{00000007-2742-4CD8-8BD8-5E8DF8E79DA1}"/>
            </c:ext>
          </c:extLst>
        </c:ser>
        <c:dLbls>
          <c:showLegendKey val="0"/>
          <c:showVal val="0"/>
          <c:showCatName val="0"/>
          <c:showSerName val="0"/>
          <c:showPercent val="0"/>
          <c:showBubbleSize val="0"/>
        </c:dLbls>
        <c:marker val="1"/>
        <c:smooth val="0"/>
        <c:axId val="1524746128"/>
        <c:axId val="1524727888"/>
      </c:lineChart>
      <c:catAx>
        <c:axId val="16040116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ime Fram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d/yyyy\ 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4030896"/>
        <c:crosses val="autoZero"/>
        <c:auto val="0"/>
        <c:lblAlgn val="ctr"/>
        <c:lblOffset val="100"/>
        <c:noMultiLvlLbl val="0"/>
      </c:catAx>
      <c:valAx>
        <c:axId val="16040308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4011696"/>
        <c:crosses val="autoZero"/>
        <c:crossBetween val="between"/>
      </c:valAx>
      <c:valAx>
        <c:axId val="1524727888"/>
        <c:scaling>
          <c:orientation val="minMax"/>
          <c:max val="1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4746128"/>
        <c:crosses val="max"/>
        <c:crossBetween val="between"/>
      </c:valAx>
      <c:dateAx>
        <c:axId val="1524746128"/>
        <c:scaling>
          <c:orientation val="minMax"/>
        </c:scaling>
        <c:delete val="1"/>
        <c:axPos val="b"/>
        <c:numFmt formatCode="m/d/yyyy\ h:mm" sourceLinked="1"/>
        <c:majorTickMark val="out"/>
        <c:minorTickMark val="none"/>
        <c:tickLblPos val="nextTo"/>
        <c:crossAx val="1524727888"/>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r>
              <a:rPr lang="en-US" sz="1400" b="0" i="0" u="none" strike="noStrike" baseline="0">
                <a:solidFill>
                  <a:sysClr val="windowText" lastClr="000000">
                    <a:lumMod val="65000"/>
                    <a:lumOff val="35000"/>
                  </a:sysClr>
                </a:solidFill>
                <a:latin typeface="Calibri" panose="020F0502020204030204"/>
              </a:rPr>
              <a:t>Correlation Coefficient Pump Failure (Raw) </a:t>
            </a:r>
          </a:p>
        </c:rich>
      </c:tx>
      <c:overlay val="1"/>
      <c:spPr>
        <a:noFill/>
        <a:ln>
          <a:noFill/>
        </a:ln>
        <a:effectLst/>
      </c:spPr>
      <c:txPr>
        <a:bodyPr rot="0" spcFirstLastPara="1" vertOverflow="ellipsis" vert="horz" wrap="square" anchor="ctr" anchorCtr="1"/>
        <a:lstStyle/>
        <a:p>
          <a:pPr>
            <a:defRPr sz="1400" b="0" i="0" u="none" strike="noStrike"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6229806833654254E-2"/>
          <c:y val="0.11850685331000289"/>
          <c:w val="0.92018747490157748"/>
          <c:h val="0.77736111111111106"/>
        </c:manualLayout>
      </c:layout>
      <c:barChart>
        <c:barDir val="col"/>
        <c:grouping val="clustered"/>
        <c:varyColors val="0"/>
        <c:ser>
          <c:idx val="0"/>
          <c:order val="0"/>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baseline="0">
                    <a:solidFill>
                      <a:schemeClr val="tx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8:$B$44</c:f>
              <c:numCache>
                <c:formatCode>0.00</c:formatCode>
                <c:ptCount val="7"/>
                <c:pt idx="0">
                  <c:v>0.42183658455829898</c:v>
                </c:pt>
                <c:pt idx="1">
                  <c:v>0.26001285258420193</c:v>
                </c:pt>
                <c:pt idx="2">
                  <c:v>0.233175356577172</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D133-42D3-A6B9-2DE30BE6F7ED}"/>
            </c:ext>
          </c:extLst>
        </c:ser>
        <c:dLbls>
          <c:showLegendKey val="0"/>
          <c:showVal val="1"/>
          <c:showCatName val="0"/>
          <c:showSerName val="0"/>
          <c:showPercent val="0"/>
          <c:showBubbleSize val="0"/>
        </c:dLbls>
        <c:gapWidth val="50"/>
        <c:axId val="1326024640"/>
        <c:axId val="1326014560"/>
      </c:barChart>
      <c:catAx>
        <c:axId val="1326024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900" b="0" i="0" u="none" strike="noStrike" baseline="0">
                <a:solidFill>
                  <a:schemeClr val="tx1">
                    <a:lumMod val="65000"/>
                    <a:lumOff val="35000"/>
                  </a:schemeClr>
                </a:solidFill>
                <a:latin typeface="+mn-lt"/>
                <a:ea typeface="+mn-ea"/>
                <a:cs typeface="+mn-cs"/>
              </a:defRPr>
            </a:pPr>
            <a:endParaRPr lang="en-US"/>
          </a:p>
        </c:txPr>
        <c:crossAx val="1326014560"/>
        <c:crosses val="autoZero"/>
        <c:auto val="0"/>
        <c:lblAlgn val="ctr"/>
        <c:lblOffset val="100"/>
        <c:noMultiLvlLbl val="0"/>
      </c:catAx>
      <c:valAx>
        <c:axId val="132601456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65000"/>
                    <a:lumOff val="35000"/>
                  </a:schemeClr>
                </a:solidFill>
                <a:latin typeface="+mn-lt"/>
                <a:ea typeface="+mn-ea"/>
                <a:cs typeface="+mn-cs"/>
              </a:defRPr>
            </a:pPr>
            <a:endParaRPr lang="en-US"/>
          </a:p>
        </c:txPr>
        <c:crossAx val="1326024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Pump Failure</a:t>
            </a:r>
            <a:r>
              <a:rPr lang="en-US" baseline="0"/>
              <a:t> (Stdev)</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bg1">
                <a:lumMod val="75000"/>
              </a:schemeClr>
            </a:solidFill>
            <a:ln>
              <a:noFill/>
            </a:ln>
            <a:effectLst/>
          </c:spPr>
          <c:invertIfNegative val="0"/>
          <c:cat>
            <c:strRef>
              <c:f>'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9A19-43F8-88CE-3E77C44CB205}"/>
            </c:ext>
          </c:extLst>
        </c:ser>
        <c:dLbls>
          <c:showLegendKey val="0"/>
          <c:showVal val="0"/>
          <c:showCatName val="0"/>
          <c:showSerName val="0"/>
          <c:showPercent val="0"/>
          <c:showBubbleSize val="0"/>
        </c:dLbls>
        <c:gapWidth val="150"/>
        <c:overlap val="100"/>
        <c:axId val="1316213680"/>
        <c:axId val="1316196400"/>
      </c:barChart>
      <c:catAx>
        <c:axId val="1316213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6196400"/>
        <c:crosses val="autoZero"/>
        <c:auto val="1"/>
        <c:lblAlgn val="ctr"/>
        <c:lblOffset val="100"/>
        <c:noMultiLvlLbl val="0"/>
      </c:catAx>
      <c:valAx>
        <c:axId val="131619640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621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 Ranking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3158716592440239E-2"/>
          <c:y val="0.17748950131233596"/>
          <c:w val="0.92274314910691924"/>
          <c:h val="0.79962500000000003"/>
        </c:manualLayout>
      </c:layout>
      <c:barChart>
        <c:barDir val="col"/>
        <c:grouping val="clustered"/>
        <c:varyColors val="0"/>
        <c:ser>
          <c:idx val="0"/>
          <c:order val="0"/>
          <c:spPr>
            <a:solidFill>
              <a:schemeClr val="bg1">
                <a:lumMod val="75000"/>
              </a:schemeClr>
            </a:solidFill>
            <a:ln>
              <a:noFill/>
            </a:ln>
            <a:effectLst/>
          </c:spPr>
          <c:invertIfNegative val="0"/>
          <c:cat>
            <c:strRef>
              <c:f>'Data Preparation'!$R$20:$R$27</c:f>
              <c:strCache>
                <c:ptCount val="8"/>
                <c:pt idx="0">
                  <c:v>Horse Power</c:v>
                </c:pt>
                <c:pt idx="1">
                  <c:v>Pump Efficiency</c:v>
                </c:pt>
                <c:pt idx="2">
                  <c:v>Volumetric Flow Meter 1</c:v>
                </c:pt>
                <c:pt idx="3">
                  <c:v>Ambient Temperature</c:v>
                </c:pt>
                <c:pt idx="4">
                  <c:v>Pump Speed (RPM)</c:v>
                </c:pt>
                <c:pt idx="5">
                  <c:v>Pump Torque </c:v>
                </c:pt>
                <c:pt idx="6">
                  <c:v>Intercept</c:v>
                </c:pt>
                <c:pt idx="7">
                  <c:v>Volumetric Flow Meter 2</c:v>
                </c:pt>
              </c:strCache>
            </c:strRef>
          </c:cat>
          <c:val>
            <c:numRef>
              <c:f>'Data Preparation'!$S$20:$S$27</c:f>
              <c:numCache>
                <c:formatCode>0.00</c:formatCode>
                <c:ptCount val="8"/>
                <c:pt idx="0">
                  <c:v>0.76488650391381219</c:v>
                </c:pt>
                <c:pt idx="1">
                  <c:v>0.34234999005938682</c:v>
                </c:pt>
                <c:pt idx="2">
                  <c:v>5.0960926372487107E-2</c:v>
                </c:pt>
                <c:pt idx="3">
                  <c:v>1.8223572481078983E-2</c:v>
                </c:pt>
                <c:pt idx="4">
                  <c:v>-1.7875059072203575E-2</c:v>
                </c:pt>
                <c:pt idx="5">
                  <c:v>-1.890313547339104E-2</c:v>
                </c:pt>
                <c:pt idx="6">
                  <c:v>-3.5775386945707033E-2</c:v>
                </c:pt>
                <c:pt idx="7">
                  <c:v>-0.61136452850738654</c:v>
                </c:pt>
              </c:numCache>
            </c:numRef>
          </c:val>
          <c:extLst>
            <c:ext xmlns:c16="http://schemas.microsoft.com/office/drawing/2014/chart" uri="{C3380CC4-5D6E-409C-BE32-E72D297353CC}">
              <c16:uniqueId val="{00000000-0AD6-4789-B75B-CCAA5CA72A6C}"/>
            </c:ext>
          </c:extLst>
        </c:ser>
        <c:dLbls>
          <c:showLegendKey val="0"/>
          <c:showVal val="0"/>
          <c:showCatName val="0"/>
          <c:showSerName val="0"/>
          <c:showPercent val="0"/>
          <c:showBubbleSize val="0"/>
        </c:dLbls>
        <c:gapWidth val="219"/>
        <c:overlap val="-27"/>
        <c:axId val="280529807"/>
        <c:axId val="280530287"/>
      </c:barChart>
      <c:catAx>
        <c:axId val="280529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530287"/>
        <c:crosses val="autoZero"/>
        <c:auto val="1"/>
        <c:lblAlgn val="ctr"/>
        <c:lblOffset val="100"/>
        <c:noMultiLvlLbl val="0"/>
      </c:catAx>
      <c:valAx>
        <c:axId val="280530287"/>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 Corelation Coefficie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052980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nferential Statistics'!$M$38:$M$44</cx:f>
        <cx:lvl ptCount="7">
          <cx:pt idx="0">Horse Power</cx:pt>
          <cx:pt idx="1">Pump Speed (RPM)</cx:pt>
          <cx:pt idx="2">Pump Torque </cx:pt>
          <cx:pt idx="3">Ambient Temperature</cx:pt>
          <cx:pt idx="4">Volumetric Flow Meter 1</cx:pt>
          <cx:pt idx="5">Pump Efficiency</cx:pt>
          <cx:pt idx="6">Volumetric Flow Meter 2</cx:pt>
        </cx:lvl>
      </cx:strDim>
      <cx:numDim type="val">
        <cx:f>'Inferential Statistics'!$N$38:$N$44</cx:f>
        <cx:lvl ptCount="7" formatCode="0.00">
          <cx:pt idx="0">0.2180319818536855</cx:pt>
          <cx:pt idx="1">-0.18417032717917944</cx:pt>
          <cx:pt idx="2">-0.21602721504457051</cx:pt>
          <cx:pt idx="3">-0.30265189651678887</cx:pt>
          <cx:pt idx="4">-0.69244309318419739</cx:pt>
          <cx:pt idx="5">-0.69502775093101643</cx:pt>
          <cx:pt idx="6">-0.69773116823026105</cx:pt>
        </cx:lvl>
      </cx:numDim>
    </cx:data>
  </cx:chartData>
  <cx:chart>
    <cx:title pos="t" align="ctr" overlay="0">
      <cx:tx>
        <cx:txData>
          <cx:v>Correlation Coefficient Pump Failure (Mean) </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Correlation Coefficient Pump Failure (Mean) </a:t>
          </a:r>
        </a:p>
      </cx:txPr>
    </cx:title>
    <cx:plotArea>
      <cx:plotAreaRegion>
        <cx:plotSurface>
          <cx:spPr>
            <a:ln>
              <a:noFill/>
            </a:ln>
          </cx:spPr>
        </cx:plotSurface>
        <cx:series layoutId="waterfall" uniqueId="{DC236658-F289-4D23-857B-76D93073DA91}">
          <cx:spPr>
            <a:solidFill>
              <a:schemeClr val="bg1">
                <a:lumMod val="75000"/>
              </a:schemeClr>
            </a:solidFill>
          </cx:spPr>
          <cx:dataLabels pos="outEnd">
            <cx:visibility seriesName="0" categoryName="0" value="1"/>
          </cx:dataLabels>
          <cx:dataId val="0"/>
          <cx:layoutPr>
            <cx:subtotals/>
          </cx:layoutPr>
        </cx:series>
      </cx:plotAreaRegion>
      <cx:axis id="0">
        <cx:catScaling gapWidth="0.5"/>
        <cx:tickLabels/>
      </cx:axis>
      <cx:axis id="1">
        <cx:valScaling/>
        <cx:majorGridlines>
          <cx:spPr>
            <a:ln>
              <a:noFill/>
            </a:ln>
          </cx:spPr>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8/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chart" Target="../charts/chart5.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3" name="Chart 2">
            <a:extLst>
              <a:ext uri="{FF2B5EF4-FFF2-40B4-BE49-F238E27FC236}">
                <a16:creationId xmlns:a16="http://schemas.microsoft.com/office/drawing/2014/main" id="{0880EF67-5955-4C9D-A48C-4EDA7216EA60}"/>
              </a:ext>
            </a:extLst>
          </p:cNvPr>
          <p:cNvGraphicFramePr>
            <a:graphicFrameLocks/>
          </p:cNvGraphicFramePr>
          <p:nvPr>
            <p:extLst>
              <p:ext uri="{D42A27DB-BD31-4B8C-83A1-F6EECF244321}">
                <p14:modId xmlns:p14="http://schemas.microsoft.com/office/powerpoint/2010/main" val="26032204"/>
              </p:ext>
            </p:extLst>
          </p:nvPr>
        </p:nvGraphicFramePr>
        <p:xfrm>
          <a:off x="171450" y="1208759"/>
          <a:ext cx="4309269" cy="47139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697AB0A5-1B24-6387-9852-5DFBE8BEE725}"/>
              </a:ext>
            </a:extLst>
          </p:cNvPr>
          <p:cNvGraphicFramePr>
            <a:graphicFrameLocks/>
          </p:cNvGraphicFramePr>
          <p:nvPr>
            <p:extLst>
              <p:ext uri="{D42A27DB-BD31-4B8C-83A1-F6EECF244321}">
                <p14:modId xmlns:p14="http://schemas.microsoft.com/office/powerpoint/2010/main" val="2399576722"/>
              </p:ext>
            </p:extLst>
          </p:nvPr>
        </p:nvGraphicFramePr>
        <p:xfrm>
          <a:off x="4860409" y="1381370"/>
          <a:ext cx="3929579" cy="45413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3" name="Chart 2">
            <a:extLst>
              <a:ext uri="{FF2B5EF4-FFF2-40B4-BE49-F238E27FC236}">
                <a16:creationId xmlns:a16="http://schemas.microsoft.com/office/drawing/2014/main" id="{CEA7E74B-DBDA-489A-AAB8-1FDB1C786EF3}"/>
              </a:ext>
            </a:extLst>
          </p:cNvPr>
          <p:cNvGraphicFramePr>
            <a:graphicFrameLocks/>
          </p:cNvGraphicFramePr>
          <p:nvPr>
            <p:extLst>
              <p:ext uri="{D42A27DB-BD31-4B8C-83A1-F6EECF244321}">
                <p14:modId xmlns:p14="http://schemas.microsoft.com/office/powerpoint/2010/main" val="739974249"/>
              </p:ext>
            </p:extLst>
          </p:nvPr>
        </p:nvGraphicFramePr>
        <p:xfrm>
          <a:off x="1" y="957921"/>
          <a:ext cx="890905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AD4CE968-603A-4992-A069-CC8DF1094E1A}"/>
              </a:ext>
            </a:extLst>
          </p:cNvPr>
          <p:cNvGraphicFramePr>
            <a:graphicFrameLocks/>
          </p:cNvGraphicFramePr>
          <p:nvPr>
            <p:extLst>
              <p:ext uri="{D42A27DB-BD31-4B8C-83A1-F6EECF244321}">
                <p14:modId xmlns:p14="http://schemas.microsoft.com/office/powerpoint/2010/main" val="4014942967"/>
              </p:ext>
            </p:extLst>
          </p:nvPr>
        </p:nvGraphicFramePr>
        <p:xfrm>
          <a:off x="0" y="3977322"/>
          <a:ext cx="8961438" cy="29135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pPr algn="just"/>
            <a:r>
              <a:rPr lang="en-GB" sz="1400" b="1" dirty="0"/>
              <a:t>Further segmentation of the data via binary means (Pump Failure = 0 or 1) illustrated through mean and stdev charts, show a clear signature difference between that of normal behaviour and that of Failure with Raw (Pump Failure =1), Rolling Mean (Pump Failure =1), Rolling Stdev(Pump Failure =1)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174306" y="2377702"/>
            <a:ext cx="2409820" cy="461665"/>
          </a:xfrm>
          <a:prstGeom prst="rect">
            <a:avLst/>
          </a:prstGeom>
        </p:spPr>
        <p:txBody>
          <a:bodyPr wrap="square">
            <a:spAutoFit/>
          </a:bodyPr>
          <a:lstStyle/>
          <a:p>
            <a:endParaRPr lang="en-AU" sz="1200" b="1" dirty="0"/>
          </a:p>
          <a:p>
            <a:endParaRPr lang="en-AU" sz="1200" b="1" dirty="0"/>
          </a:p>
        </p:txBody>
      </p: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pic>
        <p:nvPicPr>
          <p:cNvPr id="3073" name="Picture 1">
            <a:extLst>
              <a:ext uri="{FF2B5EF4-FFF2-40B4-BE49-F238E27FC236}">
                <a16:creationId xmlns:a16="http://schemas.microsoft.com/office/drawing/2014/main" id="{7644FC7A-F725-55C1-09C8-BC1C5862F5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018" y="1182782"/>
            <a:ext cx="4272701" cy="282892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5C3987EB-062A-5D16-B4C9-23BF240DD4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018" y="4055553"/>
            <a:ext cx="4272701" cy="2542276"/>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a:extLst>
              <a:ext uri="{FF2B5EF4-FFF2-40B4-BE49-F238E27FC236}">
                <a16:creationId xmlns:a16="http://schemas.microsoft.com/office/drawing/2014/main" id="{D632E7B5-835D-9AC4-128E-E9E04F759C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6429" y="1161517"/>
            <a:ext cx="4262622" cy="282892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6A1F3B7A-1ABA-B814-0A7D-4BFED7F0DA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6429" y="4064920"/>
            <a:ext cx="4262621" cy="2542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Volumetric Flow Meter 1 and Volumetric Flow Meter 2 negatively correlated with Pump Failure in the Rolling Mean Data, whilst Volumetric Flow Meter 1 and Volumetric Flow Meter 2 show a subsequently strong positive correlation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350839" y="1168805"/>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61665"/>
          </a:xfrm>
          <a:prstGeom prst="rect">
            <a:avLst/>
          </a:prstGeom>
        </p:spPr>
        <p:txBody>
          <a:bodyPr wrap="square">
            <a:spAutoFit/>
          </a:bodyPr>
          <a:lstStyle/>
          <a:p>
            <a:endParaRPr lang="en-AU" sz="1200" b="1" dirty="0"/>
          </a:p>
          <a:p>
            <a:endParaRPr lang="en-AU" sz="1200" b="1" dirty="0"/>
          </a:p>
        </p:txBody>
      </p:sp>
      <p:sp>
        <p:nvSpPr>
          <p:cNvPr id="6" name="TextBox 5">
            <a:extLst>
              <a:ext uri="{FF2B5EF4-FFF2-40B4-BE49-F238E27FC236}">
                <a16:creationId xmlns:a16="http://schemas.microsoft.com/office/drawing/2014/main" id="{4A968194-61AD-4C31-A189-FF4A210F4FA3}"/>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3" name="Chart 2">
            <a:extLst>
              <a:ext uri="{FF2B5EF4-FFF2-40B4-BE49-F238E27FC236}">
                <a16:creationId xmlns:a16="http://schemas.microsoft.com/office/drawing/2014/main" id="{CB1CFD04-27E3-2871-3458-0C55287CA111}"/>
              </a:ext>
            </a:extLst>
          </p:cNvPr>
          <p:cNvGraphicFramePr>
            <a:graphicFrameLocks/>
          </p:cNvGraphicFramePr>
          <p:nvPr>
            <p:extLst>
              <p:ext uri="{D42A27DB-BD31-4B8C-83A1-F6EECF244321}">
                <p14:modId xmlns:p14="http://schemas.microsoft.com/office/powerpoint/2010/main" val="1716384804"/>
              </p:ext>
            </p:extLst>
          </p:nvPr>
        </p:nvGraphicFramePr>
        <p:xfrm>
          <a:off x="171449" y="1311806"/>
          <a:ext cx="4443081" cy="2743200"/>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xmlns:cx1="http://schemas.microsoft.com/office/drawing/2015/9/8/chartex">
        <mc:Choice Requires="cx1">
          <p:graphicFrame>
            <p:nvGraphicFramePr>
              <p:cNvPr id="5" name="Chart 4">
                <a:extLst>
                  <a:ext uri="{FF2B5EF4-FFF2-40B4-BE49-F238E27FC236}">
                    <a16:creationId xmlns:a16="http://schemas.microsoft.com/office/drawing/2014/main" id="{DAA0C1B8-CB9A-96B6-F516-201B0B3DA2B7}"/>
                  </a:ext>
                </a:extLst>
              </p:cNvPr>
              <p:cNvGraphicFramePr/>
              <p:nvPr>
                <p:extLst>
                  <p:ext uri="{D42A27DB-BD31-4B8C-83A1-F6EECF244321}">
                    <p14:modId xmlns:p14="http://schemas.microsoft.com/office/powerpoint/2010/main" val="2563843999"/>
                  </p:ext>
                </p:extLst>
              </p:nvPr>
            </p:nvGraphicFramePr>
            <p:xfrm>
              <a:off x="74428" y="4038069"/>
              <a:ext cx="5188688" cy="237130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5" name="Chart 4">
                <a:extLst>
                  <a:ext uri="{FF2B5EF4-FFF2-40B4-BE49-F238E27FC236}">
                    <a16:creationId xmlns:a16="http://schemas.microsoft.com/office/drawing/2014/main" id="{DAA0C1B8-CB9A-96B6-F516-201B0B3DA2B7}"/>
                  </a:ext>
                </a:extLst>
              </p:cNvPr>
              <p:cNvPicPr>
                <a:picLocks noGrp="1" noRot="1" noChangeAspect="1" noMove="1" noResize="1" noEditPoints="1" noAdjustHandles="1" noChangeArrowheads="1" noChangeShapeType="1"/>
              </p:cNvPicPr>
              <p:nvPr/>
            </p:nvPicPr>
            <p:blipFill>
              <a:blip r:embed="rId4"/>
              <a:stretch>
                <a:fillRect/>
              </a:stretch>
            </p:blipFill>
            <p:spPr>
              <a:xfrm>
                <a:off x="74428" y="4038069"/>
                <a:ext cx="5188688" cy="2371301"/>
              </a:xfrm>
              <a:prstGeom prst="rect">
                <a:avLst/>
              </a:prstGeom>
            </p:spPr>
          </p:pic>
        </mc:Fallback>
      </mc:AlternateContent>
      <p:graphicFrame>
        <p:nvGraphicFramePr>
          <p:cNvPr id="8" name="Chart 7">
            <a:extLst>
              <a:ext uri="{FF2B5EF4-FFF2-40B4-BE49-F238E27FC236}">
                <a16:creationId xmlns:a16="http://schemas.microsoft.com/office/drawing/2014/main" id="{697AB0A5-1B24-6387-9852-5DFBE8BEE725}"/>
              </a:ext>
            </a:extLst>
          </p:cNvPr>
          <p:cNvGraphicFramePr>
            <a:graphicFrameLocks/>
          </p:cNvGraphicFramePr>
          <p:nvPr>
            <p:extLst>
              <p:ext uri="{D42A27DB-BD31-4B8C-83A1-F6EECF244321}">
                <p14:modId xmlns:p14="http://schemas.microsoft.com/office/powerpoint/2010/main" val="4222740190"/>
              </p:ext>
            </p:extLst>
          </p:nvPr>
        </p:nvGraphicFramePr>
        <p:xfrm>
          <a:off x="5050464" y="1906748"/>
          <a:ext cx="3646969"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0.77, a linear model is a good fit for the data with variables Horse Power,  Pump Efficiency and Volumetric Flow Meter 2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C1CAFE0-0E0E-48EF-9FD1-2D388098207C}"/>
              </a:ext>
            </a:extLst>
          </p:cNvPr>
          <p:cNvGraphicFramePr>
            <a:graphicFrameLocks/>
          </p:cNvGraphicFramePr>
          <p:nvPr>
            <p:extLst>
              <p:ext uri="{D42A27DB-BD31-4B8C-83A1-F6EECF244321}">
                <p14:modId xmlns:p14="http://schemas.microsoft.com/office/powerpoint/2010/main" val="284689796"/>
              </p:ext>
            </p:extLst>
          </p:nvPr>
        </p:nvGraphicFramePr>
        <p:xfrm>
          <a:off x="171451" y="1463884"/>
          <a:ext cx="8600409" cy="304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26</TotalTime>
  <Words>405</Words>
  <Application>Microsoft Office PowerPoint</Application>
  <PresentationFormat>Custom</PresentationFormat>
  <Paragraphs>20</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mean and stdev charts, show a clear signature difference between that of normal behaviour and that of Failure with Raw (Pump Failure =1), Rolling Mean (Pump Failure =1), Rolling Stdev(Pump Failure =1) showing the 3 largest variances.</vt:lpstr>
      <vt:lpstr>Correlation analyses across datasets yield interesting insights with Volumetric Flow Meter 1 and Volumetric Flow Meter 2 negatively correlated with Pump Failure in the Rolling Mean Data, whilst Volumetric Flow Meter 1 and Volumetric Flow Meter 2 show a subsequently strong positive correlation in the Rolling Stdev  Dataset. </vt:lpstr>
      <vt:lpstr>Lastly, analysis of the model fit reveals that with a R Squared of  0.77, a linear model is a good fit for the data with variables Horse Power,  Pump Efficiency and Volumetric Flow Meter 2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Mahfuza Vohidova</cp:lastModifiedBy>
  <cp:revision>91</cp:revision>
  <dcterms:created xsi:type="dcterms:W3CDTF">2020-04-12T13:23:13Z</dcterms:created>
  <dcterms:modified xsi:type="dcterms:W3CDTF">2023-08-03T12:2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8-02T02:03:39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40526205-2132-45a6-b56a-b157f1370e1a</vt:lpwstr>
  </property>
  <property fmtid="{D5CDD505-2E9C-101B-9397-08002B2CF9AE}" pid="7" name="MSIP_Label_defa4170-0d19-0005-0004-bc88714345d2_ActionId">
    <vt:lpwstr>30f659f9-85d4-4211-b4e4-1abef47caf20</vt:lpwstr>
  </property>
  <property fmtid="{D5CDD505-2E9C-101B-9397-08002B2CF9AE}" pid="8" name="MSIP_Label_defa4170-0d19-0005-0004-bc88714345d2_ContentBits">
    <vt:lpwstr>0</vt:lpwstr>
  </property>
</Properties>
</file>